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tiff" ContentType="image/tif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963" r:id="rId5"/>
  </p:sldMasterIdLst>
  <p:notesMasterIdLst>
    <p:notesMasterId r:id="rId18"/>
  </p:notesMasterIdLst>
  <p:sldIdLst>
    <p:sldId id="256" r:id="rId6"/>
    <p:sldId id="258" r:id="rId7"/>
    <p:sldId id="260" r:id="rId8"/>
    <p:sldId id="259" r:id="rId9"/>
    <p:sldId id="266" r:id="rId10"/>
    <p:sldId id="269" r:id="rId11"/>
    <p:sldId id="268" r:id="rId12"/>
    <p:sldId id="261" r:id="rId13"/>
    <p:sldId id="270" r:id="rId14"/>
    <p:sldId id="271" r:id="rId15"/>
    <p:sldId id="263" r:id="rId16"/>
    <p:sldId id="262" r:id="rId17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4164">
          <p15:clr>
            <a:srgbClr val="A4A3A4"/>
          </p15:clr>
        </p15:guide>
        <p15:guide id="3" orient="horz" pos="3888">
          <p15:clr>
            <a:srgbClr val="A4A3A4"/>
          </p15:clr>
        </p15:guide>
        <p15:guide id="4" orient="horz" pos="3658">
          <p15:clr>
            <a:srgbClr val="A4A3A4"/>
          </p15:clr>
        </p15:guide>
        <p15:guide id="5" pos="3840">
          <p15:clr>
            <a:srgbClr val="A4A3A4"/>
          </p15:clr>
        </p15:guide>
        <p15:guide id="6" pos="305">
          <p15:clr>
            <a:srgbClr val="A4A3A4"/>
          </p15:clr>
        </p15:guide>
        <p15:guide id="7" pos="7443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0D0CE"/>
    <a:srgbClr val="B1B3B3"/>
    <a:srgbClr val="888B8D"/>
    <a:srgbClr val="63666A"/>
    <a:srgbClr val="739600"/>
    <a:srgbClr val="A22B38"/>
    <a:srgbClr val="F2AA00"/>
    <a:srgbClr val="E87722"/>
    <a:srgbClr val="FFFFFF"/>
    <a:srgbClr val="5556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FD0F851-EC5A-4D38-B0AD-8093EC10F338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744" autoAdjust="0"/>
    <p:restoredTop sz="85620" autoAdjust="0"/>
  </p:normalViewPr>
  <p:slideViewPr>
    <p:cSldViewPr snapToGrid="0">
      <p:cViewPr>
        <p:scale>
          <a:sx n="112" d="100"/>
          <a:sy n="112" d="100"/>
        </p:scale>
        <p:origin x="2296" y="984"/>
      </p:cViewPr>
      <p:guideLst>
        <p:guide orient="horz" pos="2160"/>
        <p:guide orient="horz" pos="4164"/>
        <p:guide orient="horz" pos="3888"/>
        <p:guide orient="horz" pos="3658"/>
        <p:guide pos="3840"/>
        <p:guide pos="305"/>
        <p:guide pos="744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559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A1059E1-8A92-412E-9FFC-46DC2A12AD11}" type="datetimeFigureOut">
              <a:rPr lang="en-US" smtClean="0"/>
              <a:t>3/4/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B1AA27-3892-4360-B986-D6B124C223B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40882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lastic.co/guide/en/apm/agent/java/1.x/supported-technologies-details.html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B1AA27-3892-4360-B986-D6B124C223BF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22449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acking: </a:t>
            </a:r>
          </a:p>
          <a:p>
            <a:pPr marL="171450" indent="-171450">
              <a:buFontTx/>
              <a:buChar char="-"/>
            </a:pPr>
            <a:r>
              <a:rPr lang="en-US" dirty="0"/>
              <a:t>RUM for front-end, how is the impact for end-users? </a:t>
            </a:r>
            <a:r>
              <a:rPr lang="en-US" dirty="0" err="1"/>
              <a:t>Ie</a:t>
            </a:r>
            <a:r>
              <a:rPr lang="en-US" dirty="0"/>
              <a:t>: page content loads</a:t>
            </a:r>
          </a:p>
          <a:p>
            <a:pPr marL="171450" indent="-171450">
              <a:buFontTx/>
              <a:buChar char="-"/>
            </a:pPr>
            <a:r>
              <a:rPr lang="en-US" dirty="0"/>
              <a:t>Enough Dynatrace agents for scalability of services?	`</a:t>
            </a:r>
          </a:p>
          <a:p>
            <a:pPr marL="171450" indent="-171450">
              <a:buFontTx/>
              <a:buChar char="-"/>
            </a:pPr>
            <a:r>
              <a:rPr lang="en-US" dirty="0"/>
              <a:t>Distributed Tracing across microservices</a:t>
            </a:r>
          </a:p>
          <a:p>
            <a:pPr marL="171450" indent="-171450">
              <a:buFontTx/>
              <a:buChar char="-"/>
            </a:pPr>
            <a:r>
              <a:rPr lang="en-US" dirty="0"/>
              <a:t>Centralized Logging and correlation</a:t>
            </a:r>
          </a:p>
          <a:p>
            <a:pPr marL="171450" indent="-171450">
              <a:buFontTx/>
              <a:buChar char="-"/>
            </a:pPr>
            <a:endParaRPr lang="en-US" dirty="0"/>
          </a:p>
          <a:p>
            <a:pPr marL="171450" indent="-171450">
              <a:buFontTx/>
              <a:buChar char="-"/>
            </a:pPr>
            <a:r>
              <a:rPr lang="en-US" dirty="0"/>
              <a:t>Can we do better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B1AA27-3892-4360-B986-D6B124C223BF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06179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https://www.elastic.co/guide/en/apm/agent/java/1.x/supported-technologies-details.htm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B1AA27-3892-4360-B986-D6B124C223BF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84049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ponsors: Google, Microsoft, Dynatrace, and New Relic</a:t>
            </a:r>
          </a:p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10: Google Dapper X-Google-Cloud-Trace</a:t>
            </a: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witter: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ipkin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3 format</a:t>
            </a: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ber: Uber forma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B1AA27-3892-4360-B986-D6B124C223BF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6345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ponsors: Google, Microsoft, Dynatrace, and New Relic</a:t>
            </a:r>
          </a:p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10: Google Dapper X-Google-Cloud-Trace</a:t>
            </a: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witter: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ipkin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3 format</a:t>
            </a: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ber: Uber forma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B1AA27-3892-4360-B986-D6B124C223BF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17382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B1AA27-3892-4360-B986-D6B124C223BF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90708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.emf"/><Relationship Id="rId5" Type="http://schemas.openxmlformats.org/officeDocument/2006/relationships/image" Target="../media/image11.jpeg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0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8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0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image" Target="../media/image3.jpeg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6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0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8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6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0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.emf"/><Relationship Id="rId5" Type="http://schemas.openxmlformats.org/officeDocument/2006/relationships/image" Target="../media/image4.jpeg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2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image" Target="../media/image12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6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image" Target="../media/image12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0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5" Type="http://schemas.openxmlformats.org/officeDocument/2006/relationships/image" Target="../media/image1.emf"/><Relationship Id="rId4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5" Type="http://schemas.openxmlformats.org/officeDocument/2006/relationships/image" Target="../media/image1.emf"/><Relationship Id="rId4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129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5" Type="http://schemas.openxmlformats.org/officeDocument/2006/relationships/image" Target="../media/image1.emf"/><Relationship Id="rId4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132.xml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5" Type="http://schemas.openxmlformats.org/officeDocument/2006/relationships/image" Target="../media/image1.emf"/><Relationship Id="rId4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135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5" Type="http://schemas.openxmlformats.org/officeDocument/2006/relationships/image" Target="../media/image1.emf"/><Relationship Id="rId4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38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6" Type="http://schemas.openxmlformats.org/officeDocument/2006/relationships/image" Target="../media/image1.emf"/><Relationship Id="rId5" Type="http://schemas.openxmlformats.org/officeDocument/2006/relationships/image" Target="../media/image12.png"/><Relationship Id="rId4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41.xml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5" Type="http://schemas.openxmlformats.org/officeDocument/2006/relationships/image" Target="../media/image1.emf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.emf"/><Relationship Id="rId5" Type="http://schemas.openxmlformats.org/officeDocument/2006/relationships/image" Target="../media/image5.jpeg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3.xml"/><Relationship Id="rId1" Type="http://schemas.openxmlformats.org/officeDocument/2006/relationships/tags" Target="../tags/tag142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.emf"/><Relationship Id="rId5" Type="http://schemas.openxmlformats.org/officeDocument/2006/relationships/image" Target="../media/image6.jpeg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.emf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1.emf"/><Relationship Id="rId5" Type="http://schemas.openxmlformats.org/officeDocument/2006/relationships/image" Target="../media/image8.jpeg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.emf"/><Relationship Id="rId5" Type="http://schemas.openxmlformats.org/officeDocument/2006/relationships/image" Target="../media/image9.jpeg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.emf"/><Relationship Id="rId5" Type="http://schemas.openxmlformats.org/officeDocument/2006/relationships/image" Target="../media/image10.jpeg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Busines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C:\Users\cbarthol\Desktop\Charlotte Work\Tools\PPT\Empower\2019 PPT cover images\women-shaking-hands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34"/>
            <a:ext cx="12192000" cy="6859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 bwMode="gray">
          <a:xfrm>
            <a:off x="0" y="-233"/>
            <a:ext cx="11117029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1" y="1104900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6" name="MIO_LOGOPLACEHOLDER#LowerLeftMediumWide" hidden="1"/>
          <p:cNvSpPr/>
          <p:nvPr/>
        </p:nvSpPr>
        <p:spPr>
          <a:xfrm>
            <a:off x="583916" y="5841607"/>
            <a:ext cx="584484" cy="63269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5" name="Rectangle 4" hidden="1"/>
          <p:cNvSpPr/>
          <p:nvPr>
            <p:custDataLst>
              <p:tags r:id="rId1"/>
            </p:custDataLst>
          </p:nvPr>
        </p:nvSpPr>
        <p:spPr>
          <a:xfrm>
            <a:off x="426027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0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5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092027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Vetera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 descr="C:\Users\cbarthol\Desktop\Charlotte Work\Tools\PPT\Empower\2019 PPT cover images\10-military-navy-man-doctor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2192000" cy="6859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 bwMode="gray">
          <a:xfrm>
            <a:off x="0" y="-233"/>
            <a:ext cx="11008425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56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1" y="1104900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30" name="MIO_LOGOPLACEHOLDER#LowerLeftMediumWide" hidden="1"/>
          <p:cNvSpPr/>
          <p:nvPr/>
        </p:nvSpPr>
        <p:spPr>
          <a:xfrm>
            <a:off x="583916" y="5841607"/>
            <a:ext cx="584484" cy="63269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7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0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6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02642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- Customi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12192000" cy="6858000"/>
          </a:xfrm>
          <a:noFill/>
        </p:spPr>
        <p:txBody>
          <a:bodyPr/>
          <a:lstStyle>
            <a:lvl1pPr algn="r">
              <a:defRPr/>
            </a:lvl1pPr>
          </a:lstStyle>
          <a:p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-1" y="-5893"/>
            <a:ext cx="11946577" cy="6858000"/>
          </a:xfr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>
            <a:lvl1pPr>
              <a:def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 algn="ctr" defTabSz="914196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 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1" y="1104900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 | Image instructions at right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34" name="MIO_LOGOPLACEHOLDER#LowerLeftMediumWide" hidden="1"/>
          <p:cNvSpPr/>
          <p:nvPr userDrawn="1"/>
        </p:nvSpPr>
        <p:spPr>
          <a:xfrm>
            <a:off x="583916" y="5841607"/>
            <a:ext cx="584484" cy="63269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20" name="Rectangle 19" hidden="1"/>
          <p:cNvSpPr/>
          <p:nvPr userDrawn="1">
            <p:custDataLst>
              <p:tags r:id="rId1"/>
            </p:custDataLst>
          </p:nvPr>
        </p:nvSpPr>
        <p:spPr>
          <a:xfrm>
            <a:off x="457200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6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453079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One line</a:t>
            </a:r>
          </a:p>
        </p:txBody>
      </p:sp>
      <p:sp>
        <p:nvSpPr>
          <p:cNvPr id="3" name="Bullets/content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9" name="Rectangle 8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0" name="Rectangle 9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1" name="Rectangle 10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2" name="Rectangle 11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0B3B780-E62D-4D6E-8CCA-C44793C78675}" type="datetime1">
              <a:rPr lang="en-US" smtClean="0"/>
              <a:t>3/4/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27288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1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One line</a:t>
            </a:r>
          </a:p>
        </p:txBody>
      </p:sp>
      <p:sp>
        <p:nvSpPr>
          <p:cNvPr id="3" name="Content Left"/>
          <p:cNvSpPr>
            <a:spLocks noGrp="1"/>
          </p:cNvSpPr>
          <p:nvPr>
            <p:ph sz="half" idx="1" hasCustomPrompt="1"/>
          </p:nvPr>
        </p:nvSpPr>
        <p:spPr>
          <a:xfrm>
            <a:off x="495300" y="1825625"/>
            <a:ext cx="5524500" cy="40798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Right"/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660572" cy="40798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10" name="Rectangle 9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1" name="Rectangle 10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2" name="Rectangle 1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3" name="Rectangle 12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1A758A-7A14-49B6-8749-8B4677DFB21D}" type="datetime1">
              <a:rPr lang="en-US" smtClean="0"/>
              <a:t>3/4/20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53600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2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L"/>
          <p:cNvSpPr>
            <a:spLocks noGrp="1"/>
          </p:cNvSpPr>
          <p:nvPr>
            <p:ph sz="half" idx="1" hasCustomPrompt="1"/>
          </p:nvPr>
        </p:nvSpPr>
        <p:spPr>
          <a:xfrm>
            <a:off x="495300" y="1825625"/>
            <a:ext cx="5524500" cy="40798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R"/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660572" cy="40798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ubtitle L"/>
          <p:cNvSpPr>
            <a:spLocks noGrp="1"/>
          </p:cNvSpPr>
          <p:nvPr>
            <p:ph type="body" idx="13" hasCustomPrompt="1"/>
          </p:nvPr>
        </p:nvSpPr>
        <p:spPr>
          <a:xfrm>
            <a:off x="495300" y="1118282"/>
            <a:ext cx="5502275" cy="492125"/>
          </a:xfrm>
        </p:spPr>
        <p:txBody>
          <a:bodyPr anchor="t"/>
          <a:lstStyle>
            <a:lvl1pPr marL="0" indent="0">
              <a:buNone/>
              <a:defRPr sz="2600" b="0">
                <a:solidFill>
                  <a:schemeClr val="accent4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Short subhead</a:t>
            </a:r>
          </a:p>
        </p:txBody>
      </p:sp>
      <p:sp>
        <p:nvSpPr>
          <p:cNvPr id="10" name="Subtitle R"/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118282"/>
            <a:ext cx="5638800" cy="492125"/>
          </a:xfrm>
        </p:spPr>
        <p:txBody>
          <a:bodyPr anchor="t"/>
          <a:lstStyle>
            <a:lvl1pPr marL="0" indent="0">
              <a:buNone/>
              <a:defRPr sz="2600" b="0">
                <a:solidFill>
                  <a:schemeClr val="accent4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Short subhead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One line</a:t>
            </a:r>
          </a:p>
        </p:txBody>
      </p:sp>
      <p:sp>
        <p:nvSpPr>
          <p:cNvPr id="12" name="Rectangle 11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3" name="Rectangle 12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4" name="Rectangle 1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5" name="Rectangle 14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7028936-D64B-476E-A860-D62BEA5CA164}" type="datetime1">
              <a:rPr lang="en-US" smtClean="0"/>
              <a:t>3/4/20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74625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One line</a:t>
            </a:r>
          </a:p>
        </p:txBody>
      </p:sp>
      <p:sp>
        <p:nvSpPr>
          <p:cNvPr id="7" name="Rectangle 6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8" name="Rectangle 7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9" name="Rectangle 8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0" name="Rectangle 9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3B5531-9B63-4C6F-875C-2AB341648D3E}" type="datetime1">
              <a:rPr lang="en-US" smtClean="0"/>
              <a:t>3/4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32350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One line</a:t>
            </a:r>
          </a:p>
        </p:txBody>
      </p:sp>
      <p:sp>
        <p:nvSpPr>
          <p:cNvPr id="8" name="Rectangle 7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9" name="Rectangle 8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0" name="Rectangle 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1" name="Rectangle 10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6C83344-934B-4C49-8227-D564BD862152}" type="datetime1">
              <a:rPr lang="en-US" smtClean="0"/>
              <a:t>3/4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846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1"/>
          <p:cNvSpPr>
            <a:spLocks noGrp="1"/>
          </p:cNvSpPr>
          <p:nvPr>
            <p:ph sz="half" idx="1" hasCustomPrompt="1"/>
          </p:nvPr>
        </p:nvSpPr>
        <p:spPr>
          <a:xfrm>
            <a:off x="784513" y="4401689"/>
            <a:ext cx="3335482" cy="1503809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  <a:lvl2pPr marL="228600" indent="-228600">
              <a:buFont typeface="Arial" panose="020B0604020202020204" pitchFamily="34" charset="0"/>
              <a:buChar char="•"/>
              <a:defRPr sz="1400"/>
            </a:lvl2pPr>
            <a:lvl3pPr marL="457200" indent="-228600">
              <a:buClr>
                <a:schemeClr val="tx1"/>
              </a:buClr>
              <a:buFont typeface="Arial" panose="020B0604020202020204" pitchFamily="34" charset="0"/>
              <a:buChar char="−"/>
              <a:defRPr sz="1400"/>
            </a:lvl3pPr>
            <a:lvl4pPr marL="687388" indent="-230188">
              <a:buFont typeface="Arial" panose="020B0604020202020204" pitchFamily="34" charset="0"/>
              <a:buChar char="•"/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Type 16 pt gray text max three lin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2">
            <a:extLst>
              <a:ext uri="{FF2B5EF4-FFF2-40B4-BE49-F238E27FC236}">
                <a16:creationId xmlns:a16="http://schemas.microsoft.com/office/drawing/2014/main" id="{91B99C12-BC4B-42D3-9852-1F9B4101E133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4436843" y="4401689"/>
            <a:ext cx="3335482" cy="1503809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  <a:lvl2pPr marL="228600" indent="-228600">
              <a:buFont typeface="Arial" panose="020B0604020202020204" pitchFamily="34" charset="0"/>
              <a:buChar char="•"/>
              <a:defRPr sz="1400"/>
            </a:lvl2pPr>
            <a:lvl3pPr marL="457200" indent="-228600">
              <a:buClr>
                <a:schemeClr val="tx1"/>
              </a:buClr>
              <a:buFont typeface="Arial" panose="020B0604020202020204" pitchFamily="34" charset="0"/>
              <a:buChar char="−"/>
              <a:defRPr sz="1400"/>
            </a:lvl3pPr>
            <a:lvl4pPr marL="687388" indent="-230188">
              <a:buFont typeface="Arial" panose="020B0604020202020204" pitchFamily="34" charset="0"/>
              <a:buChar char="•"/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Type 16 pt gray text max three lines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3">
            <a:extLst>
              <a:ext uri="{FF2B5EF4-FFF2-40B4-BE49-F238E27FC236}">
                <a16:creationId xmlns:a16="http://schemas.microsoft.com/office/drawing/2014/main" id="{D9004B96-D94C-4153-B36B-4355853060EA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8175761" y="4401689"/>
            <a:ext cx="3335482" cy="1503809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  <a:lvl2pPr marL="228600" indent="-228600">
              <a:buFont typeface="Arial" panose="020B0604020202020204" pitchFamily="34" charset="0"/>
              <a:buChar char="•"/>
              <a:defRPr sz="1400"/>
            </a:lvl2pPr>
            <a:lvl3pPr marL="457200" indent="-228600">
              <a:buClr>
                <a:schemeClr val="tx1"/>
              </a:buClr>
              <a:buFont typeface="Arial" panose="020B0604020202020204" pitchFamily="34" charset="0"/>
              <a:buChar char="−"/>
              <a:defRPr sz="1400"/>
            </a:lvl3pPr>
            <a:lvl4pPr marL="687388" indent="-230188">
              <a:buFont typeface="Arial" panose="020B0604020202020204" pitchFamily="34" charset="0"/>
              <a:buChar char="•"/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Type 16 pt gray text max three lines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Orange title 1">
            <a:extLst>
              <a:ext uri="{FF2B5EF4-FFF2-40B4-BE49-F238E27FC236}">
                <a16:creationId xmlns:a16="http://schemas.microsoft.com/office/drawing/2014/main" id="{4736416D-EB4F-4346-8783-FC896DC0CA6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84514" y="3868738"/>
            <a:ext cx="3335482" cy="4572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Type subhead in 16 pt orange | Max two lines</a:t>
            </a:r>
          </a:p>
        </p:txBody>
      </p:sp>
      <p:sp>
        <p:nvSpPr>
          <p:cNvPr id="18" name="Orange title 2">
            <a:extLst>
              <a:ext uri="{FF2B5EF4-FFF2-40B4-BE49-F238E27FC236}">
                <a16:creationId xmlns:a16="http://schemas.microsoft.com/office/drawing/2014/main" id="{5BAB981D-A627-42CC-B2DE-02C26E3DF94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36843" y="3865340"/>
            <a:ext cx="3335482" cy="4572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Type subhead in 16 pt orange | Max two lines</a:t>
            </a:r>
          </a:p>
        </p:txBody>
      </p:sp>
      <p:sp>
        <p:nvSpPr>
          <p:cNvPr id="19" name="Orange title 3">
            <a:extLst>
              <a:ext uri="{FF2B5EF4-FFF2-40B4-BE49-F238E27FC236}">
                <a16:creationId xmlns:a16="http://schemas.microsoft.com/office/drawing/2014/main" id="{E65F5722-9D51-4EC9-BA8C-FDC59DB8463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75761" y="3865340"/>
            <a:ext cx="3335482" cy="4572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Type subhead in 16 pt orange | Max two lines</a:t>
            </a:r>
          </a:p>
        </p:txBody>
      </p:sp>
      <p:sp>
        <p:nvSpPr>
          <p:cNvPr id="12" name="Circle 3"/>
          <p:cNvSpPr>
            <a:spLocks noGrp="1"/>
          </p:cNvSpPr>
          <p:nvPr>
            <p:ph type="body" sz="quarter" idx="16" hasCustomPrompt="1"/>
          </p:nvPr>
        </p:nvSpPr>
        <p:spPr>
          <a:xfrm>
            <a:off x="8910814" y="1828800"/>
            <a:ext cx="1865376" cy="1866900"/>
          </a:xfrm>
          <a:prstGeom prst="ellipse">
            <a:avLst/>
          </a:prstGeom>
          <a:ln w="19050">
            <a:solidFill>
              <a:schemeClr val="accent1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/>
              <a:t>Place icon here. To hide this text, place cursor then hit space bar. Duplicate or delete as needed.</a:t>
            </a:r>
          </a:p>
        </p:txBody>
      </p:sp>
      <p:sp>
        <p:nvSpPr>
          <p:cNvPr id="11" name="Circle 2"/>
          <p:cNvSpPr>
            <a:spLocks noGrp="1"/>
          </p:cNvSpPr>
          <p:nvPr>
            <p:ph type="body" sz="quarter" idx="15" hasCustomPrompt="1"/>
          </p:nvPr>
        </p:nvSpPr>
        <p:spPr>
          <a:xfrm>
            <a:off x="5171896" y="1828800"/>
            <a:ext cx="1865376" cy="1866900"/>
          </a:xfrm>
          <a:prstGeom prst="ellipse">
            <a:avLst/>
          </a:prstGeom>
          <a:ln w="19050">
            <a:solidFill>
              <a:schemeClr val="accent1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/>
              <a:t>Place icon here. To hide this text, place cursor then hit space bar. Duplicate or delete as needed.</a:t>
            </a:r>
          </a:p>
        </p:txBody>
      </p:sp>
      <p:sp>
        <p:nvSpPr>
          <p:cNvPr id="10" name="Circle 1"/>
          <p:cNvSpPr>
            <a:spLocks noGrp="1"/>
          </p:cNvSpPr>
          <p:nvPr>
            <p:ph type="body" sz="quarter" idx="14" hasCustomPrompt="1"/>
          </p:nvPr>
        </p:nvSpPr>
        <p:spPr>
          <a:xfrm>
            <a:off x="1519566" y="1828800"/>
            <a:ext cx="1865376" cy="1866900"/>
          </a:xfrm>
          <a:prstGeom prst="ellipse">
            <a:avLst/>
          </a:prstGeom>
          <a:ln w="19050">
            <a:solidFill>
              <a:schemeClr val="accent1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/>
              <a:t>Place icon here. To hide this text, place cursor then hit space bar. Duplicate or delete as needed.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One line</a:t>
            </a:r>
          </a:p>
        </p:txBody>
      </p:sp>
      <p:sp>
        <p:nvSpPr>
          <p:cNvPr id="20" name="Rectangle 19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1" name="Rectangle 20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2" name="Rectangle 2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3" name="Rectangle 22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D64F778D-9461-44BD-867B-AAA80E4EFA24}" type="datetime1">
              <a:rPr lang="en-US" smtClean="0"/>
              <a:t>3/4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501771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5"/>
          <p:cNvSpPr>
            <a:spLocks noGrp="1"/>
          </p:cNvSpPr>
          <p:nvPr>
            <p:ph type="body" sz="quarter" idx="23" hasCustomPrompt="1"/>
          </p:nvPr>
        </p:nvSpPr>
        <p:spPr>
          <a:xfrm>
            <a:off x="9637488" y="2492372"/>
            <a:ext cx="219456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30" name="Hea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9637486" y="1828798"/>
            <a:ext cx="2194560" cy="663575"/>
          </a:xfrm>
          <a:solidFill>
            <a:srgbClr val="A22B38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4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7351941" y="2492372"/>
            <a:ext cx="219456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29" name="Hea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351941" y="1828798"/>
            <a:ext cx="2194560" cy="663575"/>
          </a:xfrm>
          <a:solidFill>
            <a:schemeClr val="accent1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3" name="Text 3"/>
          <p:cNvSpPr>
            <a:spLocks noGrp="1"/>
          </p:cNvSpPr>
          <p:nvPr>
            <p:ph type="body" sz="quarter" idx="21" hasCustomPrompt="1"/>
          </p:nvPr>
        </p:nvSpPr>
        <p:spPr>
          <a:xfrm>
            <a:off x="5066394" y="2492372"/>
            <a:ext cx="219456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28" name="Hea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5066394" y="1828798"/>
            <a:ext cx="2194560" cy="663575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2" name="Text 2"/>
          <p:cNvSpPr>
            <a:spLocks noGrp="1"/>
          </p:cNvSpPr>
          <p:nvPr>
            <p:ph type="body" sz="quarter" idx="20" hasCustomPrompt="1"/>
          </p:nvPr>
        </p:nvSpPr>
        <p:spPr>
          <a:xfrm>
            <a:off x="2780847" y="2492372"/>
            <a:ext cx="219456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27" name="Hea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2780847" y="1828798"/>
            <a:ext cx="2194560" cy="663575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1" name="Text 1"/>
          <p:cNvSpPr>
            <a:spLocks noGrp="1"/>
          </p:cNvSpPr>
          <p:nvPr>
            <p:ph type="body" sz="quarter" idx="19" hasCustomPrompt="1"/>
          </p:nvPr>
        </p:nvSpPr>
        <p:spPr>
          <a:xfrm>
            <a:off x="495300" y="2492372"/>
            <a:ext cx="219456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1828797"/>
            <a:ext cx="2194560" cy="663575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 Column | Type insightful headline in sentence case | One line</a:t>
            </a:r>
          </a:p>
        </p:txBody>
      </p:sp>
      <p:sp>
        <p:nvSpPr>
          <p:cNvPr id="17" name="Rectangle 16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8" name="Rectangle 17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9" name="Rectangle 18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0" name="Rectangle 19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12D42D05-315F-4CBE-9891-6A33D065FD5C}" type="datetime1">
              <a:rPr lang="en-US" smtClean="0"/>
              <a:t>3/4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471177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9079143" y="2492372"/>
            <a:ext cx="27432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29" name="Hea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9079143" y="1828798"/>
            <a:ext cx="2743200" cy="663575"/>
          </a:xfrm>
          <a:solidFill>
            <a:schemeClr val="accent1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3" name="Text 3"/>
          <p:cNvSpPr>
            <a:spLocks noGrp="1"/>
          </p:cNvSpPr>
          <p:nvPr>
            <p:ph type="body" sz="quarter" idx="21" hasCustomPrompt="1"/>
          </p:nvPr>
        </p:nvSpPr>
        <p:spPr>
          <a:xfrm>
            <a:off x="6217862" y="2492372"/>
            <a:ext cx="27432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28" name="Hea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17862" y="1828798"/>
            <a:ext cx="2743200" cy="663575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2" name="Text 2"/>
          <p:cNvSpPr>
            <a:spLocks noGrp="1"/>
          </p:cNvSpPr>
          <p:nvPr>
            <p:ph type="body" sz="quarter" idx="20" hasCustomPrompt="1"/>
          </p:nvPr>
        </p:nvSpPr>
        <p:spPr>
          <a:xfrm>
            <a:off x="3356581" y="2492372"/>
            <a:ext cx="27432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27" name="Hea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356581" y="1828798"/>
            <a:ext cx="2743200" cy="663575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1" name="Text 1"/>
          <p:cNvSpPr>
            <a:spLocks noGrp="1"/>
          </p:cNvSpPr>
          <p:nvPr>
            <p:ph type="body" sz="quarter" idx="19" hasCustomPrompt="1"/>
          </p:nvPr>
        </p:nvSpPr>
        <p:spPr>
          <a:xfrm>
            <a:off x="495300" y="2492372"/>
            <a:ext cx="27432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1828797"/>
            <a:ext cx="2743200" cy="663575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4 Column | Type insightful headline in sentence case | One line</a:t>
            </a:r>
          </a:p>
        </p:txBody>
      </p:sp>
      <p:sp>
        <p:nvSpPr>
          <p:cNvPr id="15" name="Rectangle 14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6" name="Rectangle 15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7" name="Rectangle 1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8" name="Rectangle 17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5559A049-0620-4B95-B670-4FF3AC2882C7}" type="datetime1">
              <a:rPr lang="en-US" smtClean="0"/>
              <a:t>3/4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56826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Lifesty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Users\cbarthol\Desktop\Charlotte Work\Tools\PPT\Empower\2019 PPT cover images\2-women-running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292"/>
            <a:ext cx="12192000" cy="6859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 bwMode="auto">
          <a:xfrm>
            <a:off x="0" y="9292"/>
            <a:ext cx="11092811" cy="6843371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495301" y="1104900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31" name="MIO_LOGOPLACEHOLDER#LowerLeftMediumWide" hidden="1"/>
          <p:cNvSpPr/>
          <p:nvPr/>
        </p:nvSpPr>
        <p:spPr>
          <a:xfrm>
            <a:off x="583916" y="5841607"/>
            <a:ext cx="584484" cy="63269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7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7" name="Rectangle 16" hidden="1"/>
          <p:cNvSpPr/>
          <p:nvPr>
            <p:custDataLst>
              <p:tags r:id="rId2"/>
            </p:custDataLst>
          </p:nvPr>
        </p:nvSpPr>
        <p:spPr>
          <a:xfrm>
            <a:off x="457200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4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4230639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3"/>
          <p:cNvSpPr>
            <a:spLocks noGrp="1"/>
          </p:cNvSpPr>
          <p:nvPr>
            <p:ph type="body" sz="quarter" idx="21" hasCustomPrompt="1"/>
          </p:nvPr>
        </p:nvSpPr>
        <p:spPr>
          <a:xfrm>
            <a:off x="8177285" y="2492372"/>
            <a:ext cx="36576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28" name="Hea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8177285" y="1828797"/>
            <a:ext cx="3657600" cy="663575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2" name="Text 2"/>
          <p:cNvSpPr>
            <a:spLocks noGrp="1"/>
          </p:cNvSpPr>
          <p:nvPr>
            <p:ph type="body" sz="quarter" idx="20" hasCustomPrompt="1"/>
          </p:nvPr>
        </p:nvSpPr>
        <p:spPr>
          <a:xfrm>
            <a:off x="4336293" y="2492372"/>
            <a:ext cx="36576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27" name="Hea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336293" y="1828797"/>
            <a:ext cx="3657600" cy="663575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1" name="Text 1"/>
          <p:cNvSpPr>
            <a:spLocks noGrp="1"/>
          </p:cNvSpPr>
          <p:nvPr>
            <p:ph type="body" sz="quarter" idx="19" hasCustomPrompt="1"/>
          </p:nvPr>
        </p:nvSpPr>
        <p:spPr>
          <a:xfrm>
            <a:off x="495300" y="2492372"/>
            <a:ext cx="36576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1828797"/>
            <a:ext cx="3657600" cy="663575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3 Column | Type insightful headline in sentence case | One line</a:t>
            </a:r>
          </a:p>
        </p:txBody>
      </p:sp>
      <p:sp>
        <p:nvSpPr>
          <p:cNvPr id="13" name="Rectangle 12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4" name="Rectangle 13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5" name="Rectangle 1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6" name="Rectangle 15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09937CDA-8B98-43AA-B05A-5913C482CDCD}" type="datetime1">
              <a:rPr lang="en-US" smtClean="0"/>
              <a:t>3/4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28911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R"/>
          <p:cNvSpPr>
            <a:spLocks noGrp="1"/>
          </p:cNvSpPr>
          <p:nvPr>
            <p:ph type="body" sz="quarter" idx="21" hasCustomPrompt="1"/>
          </p:nvPr>
        </p:nvSpPr>
        <p:spPr>
          <a:xfrm>
            <a:off x="6313712" y="2492372"/>
            <a:ext cx="54864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28" name="Header R"/>
          <p:cNvSpPr>
            <a:spLocks noGrp="1"/>
          </p:cNvSpPr>
          <p:nvPr>
            <p:ph type="body" sz="quarter" idx="16" hasCustomPrompt="1"/>
          </p:nvPr>
        </p:nvSpPr>
        <p:spPr>
          <a:xfrm>
            <a:off x="6313712" y="1828797"/>
            <a:ext cx="5486400" cy="663575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1" name="Text L"/>
          <p:cNvSpPr>
            <a:spLocks noGrp="1"/>
          </p:cNvSpPr>
          <p:nvPr>
            <p:ph type="body" sz="quarter" idx="19" hasCustomPrompt="1"/>
          </p:nvPr>
        </p:nvSpPr>
        <p:spPr>
          <a:xfrm>
            <a:off x="495299" y="2492372"/>
            <a:ext cx="54864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8" name="Header L"/>
          <p:cNvSpPr>
            <a:spLocks noGrp="1"/>
          </p:cNvSpPr>
          <p:nvPr>
            <p:ph type="body" sz="quarter" idx="14" hasCustomPrompt="1"/>
          </p:nvPr>
        </p:nvSpPr>
        <p:spPr>
          <a:xfrm>
            <a:off x="495299" y="1828800"/>
            <a:ext cx="5486400" cy="663575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2 Column | Type insightful headline in sentence case | One line</a:t>
            </a:r>
          </a:p>
        </p:txBody>
      </p:sp>
      <p:sp>
        <p:nvSpPr>
          <p:cNvPr id="11" name="Rectangle 10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2" name="Rectangle 11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3" name="Rectangle 1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4" name="Rectangle 13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9DAF7A56-DD4B-4C53-B9DB-D08EC1B7A10D}" type="datetime1">
              <a:rPr lang="en-US" smtClean="0"/>
              <a:t>3/4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1881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Photo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L"/>
          <p:cNvSpPr>
            <a:spLocks noGrp="1"/>
          </p:cNvSpPr>
          <p:nvPr>
            <p:ph type="pic" sz="quarter" idx="23"/>
          </p:nvPr>
        </p:nvSpPr>
        <p:spPr>
          <a:xfrm>
            <a:off x="524328" y="1828800"/>
            <a:ext cx="5571671" cy="4076700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Picture R"/>
          <p:cNvSpPr>
            <a:spLocks noGrp="1"/>
          </p:cNvSpPr>
          <p:nvPr>
            <p:ph type="pic" sz="quarter" idx="25"/>
          </p:nvPr>
        </p:nvSpPr>
        <p:spPr>
          <a:xfrm>
            <a:off x="6096000" y="1828800"/>
            <a:ext cx="5715000" cy="4076700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ext L"/>
          <p:cNvSpPr>
            <a:spLocks noGrp="1"/>
          </p:cNvSpPr>
          <p:nvPr>
            <p:ph type="body" sz="quarter" idx="24" hasCustomPrompt="1"/>
          </p:nvPr>
        </p:nvSpPr>
        <p:spPr>
          <a:xfrm>
            <a:off x="2510971" y="4470400"/>
            <a:ext cx="3585028" cy="1435100"/>
          </a:xfrm>
          <a:solidFill>
            <a:schemeClr val="accent2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if not needed</a:t>
            </a:r>
          </a:p>
        </p:txBody>
      </p:sp>
      <p:sp>
        <p:nvSpPr>
          <p:cNvPr id="18" name="Text R"/>
          <p:cNvSpPr>
            <a:spLocks noGrp="1"/>
          </p:cNvSpPr>
          <p:nvPr>
            <p:ph type="body" sz="quarter" idx="26" hasCustomPrompt="1"/>
          </p:nvPr>
        </p:nvSpPr>
        <p:spPr>
          <a:xfrm>
            <a:off x="8226552" y="4470400"/>
            <a:ext cx="3584448" cy="1435100"/>
          </a:xfrm>
          <a:solidFill>
            <a:schemeClr val="accent4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if not needed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2 Photo | Type insightful headline in sentence case | One line</a:t>
            </a:r>
          </a:p>
        </p:txBody>
      </p:sp>
      <p:sp>
        <p:nvSpPr>
          <p:cNvPr id="13" name="Rectangle 12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4" name="Rectangle 13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9" name="Rectangle 18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0" name="Rectangle 19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0DB3E303-26EF-4168-B59F-7A10DF0110A8}" type="datetime1">
              <a:rPr lang="en-US" smtClean="0"/>
              <a:t>3/4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439419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hoto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3"/>
          <p:cNvSpPr>
            <a:spLocks noGrp="1"/>
          </p:cNvSpPr>
          <p:nvPr>
            <p:ph type="pic" sz="quarter" idx="25"/>
          </p:nvPr>
        </p:nvSpPr>
        <p:spPr>
          <a:xfrm>
            <a:off x="8067405" y="1835374"/>
            <a:ext cx="3776472" cy="4076700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3"/>
          <p:cNvSpPr>
            <a:spLocks noGrp="1"/>
          </p:cNvSpPr>
          <p:nvPr>
            <p:ph type="body" sz="quarter" idx="26" hasCustomPrompt="1"/>
          </p:nvPr>
        </p:nvSpPr>
        <p:spPr>
          <a:xfrm>
            <a:off x="9766519" y="3873724"/>
            <a:ext cx="2077358" cy="2031776"/>
          </a:xfrm>
          <a:solidFill>
            <a:schemeClr val="accent4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if not needed</a:t>
            </a:r>
          </a:p>
        </p:txBody>
      </p:sp>
      <p:sp>
        <p:nvSpPr>
          <p:cNvPr id="15" name="Picture 2"/>
          <p:cNvSpPr>
            <a:spLocks noGrp="1"/>
          </p:cNvSpPr>
          <p:nvPr>
            <p:ph type="pic" sz="quarter" idx="23"/>
          </p:nvPr>
        </p:nvSpPr>
        <p:spPr>
          <a:xfrm>
            <a:off x="4286398" y="1828800"/>
            <a:ext cx="3776472" cy="4076700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ext  2"/>
          <p:cNvSpPr>
            <a:spLocks noGrp="1"/>
          </p:cNvSpPr>
          <p:nvPr>
            <p:ph type="body" sz="quarter" idx="24" hasCustomPrompt="1"/>
          </p:nvPr>
        </p:nvSpPr>
        <p:spPr>
          <a:xfrm>
            <a:off x="5985512" y="3873724"/>
            <a:ext cx="2077358" cy="2031776"/>
          </a:xfrm>
          <a:solidFill>
            <a:schemeClr val="accent2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if not needed</a:t>
            </a:r>
          </a:p>
        </p:txBody>
      </p:sp>
      <p:sp>
        <p:nvSpPr>
          <p:cNvPr id="9" name="Picture 1"/>
          <p:cNvSpPr>
            <a:spLocks noGrp="1"/>
          </p:cNvSpPr>
          <p:nvPr>
            <p:ph type="pic" sz="quarter" idx="22"/>
          </p:nvPr>
        </p:nvSpPr>
        <p:spPr>
          <a:xfrm>
            <a:off x="514351" y="1828800"/>
            <a:ext cx="3776472" cy="4076700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ext 1"/>
          <p:cNvSpPr>
            <a:spLocks noGrp="1"/>
          </p:cNvSpPr>
          <p:nvPr>
            <p:ph type="body" sz="quarter" idx="14" hasCustomPrompt="1"/>
          </p:nvPr>
        </p:nvSpPr>
        <p:spPr>
          <a:xfrm>
            <a:off x="2204321" y="3873724"/>
            <a:ext cx="2077358" cy="2031776"/>
          </a:xfrm>
          <a:solidFill>
            <a:schemeClr val="tx1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if not needed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3 Photo | Type insightful headline in sentence case | One line</a:t>
            </a:r>
          </a:p>
        </p:txBody>
      </p:sp>
      <p:sp>
        <p:nvSpPr>
          <p:cNvPr id="19" name="Rectangle 18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0" name="Rectangle 19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1" name="Rectangle 20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2" name="Rectangle 21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F96D78F0-CBBC-4866-B311-48568D82837E}" type="datetime1">
              <a:rPr lang="en-US" smtClean="0"/>
              <a:t>3/4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141039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Photo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mage 4"/>
          <p:cNvSpPr>
            <a:spLocks noGrp="1"/>
          </p:cNvSpPr>
          <p:nvPr>
            <p:ph type="pic" sz="quarter" idx="27"/>
          </p:nvPr>
        </p:nvSpPr>
        <p:spPr>
          <a:xfrm>
            <a:off x="8977313" y="1826530"/>
            <a:ext cx="2833688" cy="2583543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Header 4"/>
          <p:cNvSpPr>
            <a:spLocks noGrp="1"/>
          </p:cNvSpPr>
          <p:nvPr>
            <p:ph type="body" sz="quarter" idx="28" hasCustomPrompt="1"/>
          </p:nvPr>
        </p:nvSpPr>
        <p:spPr>
          <a:xfrm>
            <a:off x="10349593" y="2971800"/>
            <a:ext cx="1461407" cy="1439408"/>
          </a:xfrm>
          <a:solidFill>
            <a:srgbClr val="A22B38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| Remove if not needed</a:t>
            </a:r>
          </a:p>
        </p:txBody>
      </p:sp>
      <p:sp>
        <p:nvSpPr>
          <p:cNvPr id="17" name="Image 3"/>
          <p:cNvSpPr>
            <a:spLocks noGrp="1"/>
          </p:cNvSpPr>
          <p:nvPr>
            <p:ph type="pic" sz="quarter" idx="25"/>
          </p:nvPr>
        </p:nvSpPr>
        <p:spPr>
          <a:xfrm>
            <a:off x="6157912" y="1826530"/>
            <a:ext cx="2821781" cy="2583543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Hea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518285" y="2971800"/>
            <a:ext cx="1461407" cy="1439408"/>
          </a:xfrm>
          <a:solidFill>
            <a:schemeClr val="accent4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| Remove if not needed</a:t>
            </a:r>
          </a:p>
        </p:txBody>
      </p:sp>
      <p:sp>
        <p:nvSpPr>
          <p:cNvPr id="15" name="Image 2"/>
          <p:cNvSpPr>
            <a:spLocks noGrp="1"/>
          </p:cNvSpPr>
          <p:nvPr>
            <p:ph type="pic" sz="quarter" idx="23"/>
          </p:nvPr>
        </p:nvSpPr>
        <p:spPr>
          <a:xfrm>
            <a:off x="3333751" y="1828800"/>
            <a:ext cx="2824162" cy="2583543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Hea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4696505" y="2971800"/>
            <a:ext cx="1461407" cy="1439408"/>
          </a:xfrm>
          <a:solidFill>
            <a:schemeClr val="accent2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| Remove if not needed</a:t>
            </a:r>
          </a:p>
        </p:txBody>
      </p:sp>
      <p:sp>
        <p:nvSpPr>
          <p:cNvPr id="9" name="Image 1"/>
          <p:cNvSpPr>
            <a:spLocks noGrp="1"/>
          </p:cNvSpPr>
          <p:nvPr>
            <p:ph type="pic" sz="quarter" idx="22"/>
          </p:nvPr>
        </p:nvSpPr>
        <p:spPr>
          <a:xfrm>
            <a:off x="514350" y="1828800"/>
            <a:ext cx="2819400" cy="2583543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1872342" y="2971800"/>
            <a:ext cx="1461407" cy="1439408"/>
          </a:xfrm>
          <a:solidFill>
            <a:schemeClr val="tx1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| Remove if not needed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4 Photo | Type insightful headline in sentence case | One line</a:t>
            </a:r>
          </a:p>
        </p:txBody>
      </p:sp>
      <p:sp>
        <p:nvSpPr>
          <p:cNvPr id="21" name="Rectangle 20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2" name="Rectangle 21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3" name="Rectangle 2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4" name="Rectangle 23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84CCC7BF-C3F2-47F5-AEEE-5B6BE81AB706}" type="datetime1">
              <a:rPr lang="en-US" smtClean="0"/>
              <a:t>3/4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645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Photo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Image 5"/>
          <p:cNvSpPr>
            <a:spLocks noGrp="1"/>
          </p:cNvSpPr>
          <p:nvPr>
            <p:ph type="pic" sz="quarter" idx="29"/>
          </p:nvPr>
        </p:nvSpPr>
        <p:spPr>
          <a:xfrm>
            <a:off x="9565441" y="1826530"/>
            <a:ext cx="2240280" cy="1974142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Header 5"/>
          <p:cNvSpPr>
            <a:spLocks noGrp="1"/>
          </p:cNvSpPr>
          <p:nvPr>
            <p:ph type="body" sz="quarter" idx="30" hasCustomPrompt="1"/>
          </p:nvPr>
        </p:nvSpPr>
        <p:spPr>
          <a:xfrm>
            <a:off x="10662103" y="2700789"/>
            <a:ext cx="1116693" cy="1099883"/>
          </a:xfrm>
          <a:solidFill>
            <a:srgbClr val="A22B38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-</a:t>
            </a:r>
            <a:r>
              <a:rPr lang="en-US" dirty="0" err="1"/>
              <a:t>tion</a:t>
            </a:r>
            <a:r>
              <a:rPr lang="en-US" dirty="0"/>
              <a:t> here | Remove if not needed</a:t>
            </a:r>
          </a:p>
        </p:txBody>
      </p:sp>
      <p:sp>
        <p:nvSpPr>
          <p:cNvPr id="13" name="Image 4"/>
          <p:cNvSpPr>
            <a:spLocks noGrp="1"/>
          </p:cNvSpPr>
          <p:nvPr>
            <p:ph type="pic" sz="quarter" idx="27"/>
          </p:nvPr>
        </p:nvSpPr>
        <p:spPr>
          <a:xfrm>
            <a:off x="7302668" y="1826530"/>
            <a:ext cx="2240280" cy="1974142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Header 4"/>
          <p:cNvSpPr>
            <a:spLocks noGrp="1"/>
          </p:cNvSpPr>
          <p:nvPr>
            <p:ph type="body" sz="quarter" idx="28" hasCustomPrompt="1"/>
          </p:nvPr>
        </p:nvSpPr>
        <p:spPr>
          <a:xfrm>
            <a:off x="8426255" y="2700789"/>
            <a:ext cx="1116693" cy="1099883"/>
          </a:xfrm>
          <a:solidFill>
            <a:schemeClr val="accent1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-</a:t>
            </a:r>
            <a:r>
              <a:rPr lang="en-US" dirty="0" err="1"/>
              <a:t>tion</a:t>
            </a:r>
            <a:r>
              <a:rPr lang="en-US" dirty="0"/>
              <a:t> here | Remove if not needed</a:t>
            </a:r>
          </a:p>
        </p:txBody>
      </p:sp>
      <p:sp>
        <p:nvSpPr>
          <p:cNvPr id="17" name="Image 3"/>
          <p:cNvSpPr>
            <a:spLocks noGrp="1"/>
          </p:cNvSpPr>
          <p:nvPr>
            <p:ph type="pic" sz="quarter" idx="25"/>
          </p:nvPr>
        </p:nvSpPr>
        <p:spPr>
          <a:xfrm>
            <a:off x="5039895" y="1826531"/>
            <a:ext cx="2240280" cy="1974141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Hea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6163482" y="2700789"/>
            <a:ext cx="1116693" cy="1099883"/>
          </a:xfrm>
          <a:solidFill>
            <a:schemeClr val="accent4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-</a:t>
            </a:r>
            <a:r>
              <a:rPr lang="en-US" dirty="0" err="1"/>
              <a:t>tion</a:t>
            </a:r>
            <a:r>
              <a:rPr lang="en-US" dirty="0"/>
              <a:t> here | Remove if not needed</a:t>
            </a:r>
          </a:p>
        </p:txBody>
      </p:sp>
      <p:sp>
        <p:nvSpPr>
          <p:cNvPr id="15" name="Image 2"/>
          <p:cNvSpPr>
            <a:spLocks noGrp="1"/>
          </p:cNvSpPr>
          <p:nvPr>
            <p:ph type="pic" sz="quarter" idx="23"/>
          </p:nvPr>
        </p:nvSpPr>
        <p:spPr>
          <a:xfrm>
            <a:off x="2777122" y="1826530"/>
            <a:ext cx="2240280" cy="1974142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Hea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3900709" y="2700789"/>
            <a:ext cx="1116693" cy="1099883"/>
          </a:xfrm>
          <a:solidFill>
            <a:schemeClr val="accent2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-</a:t>
            </a:r>
            <a:r>
              <a:rPr lang="en-US" dirty="0" err="1"/>
              <a:t>tion</a:t>
            </a:r>
            <a:r>
              <a:rPr lang="en-US" dirty="0"/>
              <a:t> here | Remove if not needed</a:t>
            </a:r>
          </a:p>
        </p:txBody>
      </p:sp>
      <p:sp>
        <p:nvSpPr>
          <p:cNvPr id="9" name="Image 1"/>
          <p:cNvSpPr>
            <a:spLocks noGrp="1"/>
          </p:cNvSpPr>
          <p:nvPr>
            <p:ph type="pic" sz="quarter" idx="22"/>
          </p:nvPr>
        </p:nvSpPr>
        <p:spPr>
          <a:xfrm>
            <a:off x="514349" y="1826530"/>
            <a:ext cx="2240280" cy="1974142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1637936" y="2700789"/>
            <a:ext cx="1116693" cy="1099883"/>
          </a:xfrm>
          <a:solidFill>
            <a:schemeClr val="tx1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-</a:t>
            </a:r>
            <a:r>
              <a:rPr lang="en-US" dirty="0" err="1"/>
              <a:t>tion</a:t>
            </a:r>
            <a:r>
              <a:rPr lang="en-US" dirty="0"/>
              <a:t> here | Remove if not needed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 Photo | Type insightful headline in sentence case | One line</a:t>
            </a:r>
          </a:p>
        </p:txBody>
      </p:sp>
      <p:sp>
        <p:nvSpPr>
          <p:cNvPr id="23" name="Rectangle 22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4" name="Rectangle 23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5" name="Rectangle 2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6" name="Rectangle 25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fld id="{4627412A-143D-47A5-B380-3FDF5A161129}" type="datetime1">
              <a:rPr lang="en-US" smtClean="0"/>
              <a:t>3/4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911849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5"/>
          <p:cNvSpPr>
            <a:spLocks noGrp="1"/>
          </p:cNvSpPr>
          <p:nvPr>
            <p:ph type="body" sz="quarter" idx="23" hasCustomPrompt="1"/>
          </p:nvPr>
        </p:nvSpPr>
        <p:spPr>
          <a:xfrm>
            <a:off x="9637486" y="3799114"/>
            <a:ext cx="2194560" cy="2106386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  <a:lvl2pPr>
              <a:defRPr sz="16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Text – add bullet if needed</a:t>
            </a:r>
          </a:p>
        </p:txBody>
      </p:sp>
      <p:sp>
        <p:nvSpPr>
          <p:cNvPr id="30" name="Hea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9637486" y="1828798"/>
            <a:ext cx="2194560" cy="1970316"/>
          </a:xfrm>
          <a:solidFill>
            <a:srgbClr val="A22B38"/>
          </a:solidFill>
        </p:spPr>
        <p:txBody>
          <a:bodyPr lIns="137160" tIns="45720" rIns="137160" bIns="45720" anchor="ctr"/>
          <a:lstStyle>
            <a:lvl1pPr marL="285750" indent="-28575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Place icon here. To  remove text, place cursor then hit space bar.]</a:t>
            </a:r>
          </a:p>
        </p:txBody>
      </p:sp>
      <p:sp>
        <p:nvSpPr>
          <p:cNvPr id="19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7351941" y="3799114"/>
            <a:ext cx="2194560" cy="2106386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  <a:lvl2pPr>
              <a:defRPr sz="16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Text – add bullet if needed</a:t>
            </a:r>
          </a:p>
        </p:txBody>
      </p:sp>
      <p:sp>
        <p:nvSpPr>
          <p:cNvPr id="29" name="Hea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351941" y="1828798"/>
            <a:ext cx="2194560" cy="1970316"/>
          </a:xfrm>
          <a:solidFill>
            <a:schemeClr val="accent1"/>
          </a:solidFill>
        </p:spPr>
        <p:txBody>
          <a:bodyPr lIns="137160" tIns="45720" rIns="137160" bIns="45720" anchor="ctr"/>
          <a:lstStyle>
            <a:lvl1pPr marL="285750" indent="-28575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Place icon here. To  remove text, place cursor then hit space bar.]</a:t>
            </a:r>
          </a:p>
        </p:txBody>
      </p:sp>
      <p:sp>
        <p:nvSpPr>
          <p:cNvPr id="18" name="Text 3"/>
          <p:cNvSpPr>
            <a:spLocks noGrp="1"/>
          </p:cNvSpPr>
          <p:nvPr>
            <p:ph type="body" sz="quarter" idx="21" hasCustomPrompt="1"/>
          </p:nvPr>
        </p:nvSpPr>
        <p:spPr>
          <a:xfrm>
            <a:off x="5066394" y="3799114"/>
            <a:ext cx="2194560" cy="2106386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  <a:lvl2pPr>
              <a:defRPr sz="16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Text – add bullet if needed</a:t>
            </a:r>
          </a:p>
        </p:txBody>
      </p:sp>
      <p:sp>
        <p:nvSpPr>
          <p:cNvPr id="28" name="Hea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5066394" y="1828798"/>
            <a:ext cx="2194560" cy="1970316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 marL="285750" indent="-28575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Place icon here. To  remove text, place cursor then hit space bar.]</a:t>
            </a:r>
          </a:p>
        </p:txBody>
      </p:sp>
      <p:sp>
        <p:nvSpPr>
          <p:cNvPr id="17" name="Text 2"/>
          <p:cNvSpPr>
            <a:spLocks noGrp="1"/>
          </p:cNvSpPr>
          <p:nvPr>
            <p:ph type="body" sz="quarter" idx="20" hasCustomPrompt="1"/>
          </p:nvPr>
        </p:nvSpPr>
        <p:spPr>
          <a:xfrm>
            <a:off x="2780844" y="3799114"/>
            <a:ext cx="2194563" cy="2106386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  <a:lvl2pPr>
              <a:defRPr sz="16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Text – add bullet if needed</a:t>
            </a:r>
          </a:p>
        </p:txBody>
      </p:sp>
      <p:sp>
        <p:nvSpPr>
          <p:cNvPr id="27" name="Hea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2780847" y="1828798"/>
            <a:ext cx="2194560" cy="1970316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 marL="285750" indent="-28575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Place icon here. To  remove text, place cursor then hit space bar.]</a:t>
            </a:r>
          </a:p>
        </p:txBody>
      </p:sp>
      <p:sp>
        <p:nvSpPr>
          <p:cNvPr id="31" name="Text 1"/>
          <p:cNvSpPr>
            <a:spLocks noGrp="1"/>
          </p:cNvSpPr>
          <p:nvPr>
            <p:ph type="body" sz="quarter" idx="19" hasCustomPrompt="1"/>
          </p:nvPr>
        </p:nvSpPr>
        <p:spPr>
          <a:xfrm>
            <a:off x="495300" y="3799114"/>
            <a:ext cx="2194560" cy="2106386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  <a:lvl2pPr>
              <a:defRPr sz="16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Text – add bullet if needed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1828797"/>
            <a:ext cx="2194560" cy="1970316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marL="171450" indent="-17145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Place icon here. To  remove text, place cursor then hit space bar.]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 Column icon | Type insightful headline in sentence case | 1 line</a:t>
            </a:r>
          </a:p>
        </p:txBody>
      </p:sp>
      <p:sp>
        <p:nvSpPr>
          <p:cNvPr id="21" name="Rectangle 20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2" name="Rectangle 21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3" name="Rectangle 2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4" name="Rectangle 23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5BB7F529-D531-4B00-935F-6FAE4D8C8E7A}" type="datetime1">
              <a:rPr lang="en-US" smtClean="0"/>
              <a:t>3/4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34399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Row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3"/>
          <p:cNvSpPr>
            <a:spLocks noGrp="1"/>
          </p:cNvSpPr>
          <p:nvPr>
            <p:ph type="body" sz="quarter" idx="20" hasCustomPrompt="1"/>
          </p:nvPr>
        </p:nvSpPr>
        <p:spPr>
          <a:xfrm>
            <a:off x="2318204" y="4624161"/>
            <a:ext cx="9489168" cy="1280160"/>
          </a:xfrm>
        </p:spPr>
        <p:txBody>
          <a:bodyPr lIns="137160" tIns="91440" rIns="137160" bIns="91440"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9" name="Hea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95300" y="4586060"/>
            <a:ext cx="1697450" cy="1307592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 marL="285750" indent="-28575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place icon here. To  remove text, place cursor then hit space bar]</a:t>
            </a:r>
          </a:p>
        </p:txBody>
      </p:sp>
      <p:sp>
        <p:nvSpPr>
          <p:cNvPr id="25" name="Text 2"/>
          <p:cNvSpPr>
            <a:spLocks noGrp="1"/>
          </p:cNvSpPr>
          <p:nvPr>
            <p:ph type="body" sz="quarter" idx="19" hasCustomPrompt="1"/>
          </p:nvPr>
        </p:nvSpPr>
        <p:spPr>
          <a:xfrm>
            <a:off x="2318204" y="3242808"/>
            <a:ext cx="9489168" cy="1280160"/>
          </a:xfrm>
        </p:spPr>
        <p:txBody>
          <a:bodyPr lIns="137160" tIns="91440" rIns="137160" bIns="91440"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8" name="Hea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223758"/>
            <a:ext cx="1697450" cy="1307592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 marL="285750" indent="-28575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place icon here. To  remove text, place cursor then hit space bar]</a:t>
            </a:r>
          </a:p>
        </p:txBody>
      </p:sp>
      <p:sp>
        <p:nvSpPr>
          <p:cNvPr id="9" name="Text 1"/>
          <p:cNvSpPr>
            <a:spLocks noGrp="1"/>
          </p:cNvSpPr>
          <p:nvPr>
            <p:ph type="body" sz="quarter" idx="18" hasCustomPrompt="1"/>
          </p:nvPr>
        </p:nvSpPr>
        <p:spPr>
          <a:xfrm>
            <a:off x="2318204" y="1861456"/>
            <a:ext cx="9489168" cy="1280160"/>
          </a:xfrm>
        </p:spPr>
        <p:txBody>
          <a:bodyPr lIns="137160" tIns="91440" rIns="137160" bIns="91440"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1861456"/>
            <a:ext cx="1697450" cy="1307592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marL="285750" indent="-28575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place icon here. To  remove text, place cursor then hit space bar]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3 row icon | Type insightful headline in sentence case | 1 line</a:t>
            </a:r>
          </a:p>
        </p:txBody>
      </p:sp>
      <p:sp>
        <p:nvSpPr>
          <p:cNvPr id="13" name="Rectangle 12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4" name="Rectangle 13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5" name="Rectangle 1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6" name="Rectangle 15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B147A653-C30C-401B-B1C8-16CD77836741}" type="datetime1">
              <a:rPr lang="en-US" smtClean="0"/>
              <a:t>3/4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529150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Row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2283278" y="4940406"/>
            <a:ext cx="9527722" cy="987552"/>
          </a:xfrm>
        </p:spPr>
        <p:txBody>
          <a:bodyPr lIns="137160" tIns="91440" rIns="137160" bIns="91440"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Hea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495300" y="4940802"/>
            <a:ext cx="1700784" cy="987552"/>
          </a:xfrm>
          <a:solidFill>
            <a:schemeClr val="accent1"/>
          </a:solidFill>
        </p:spPr>
        <p:txBody>
          <a:bodyPr lIns="137160" tIns="45720" rIns="137160" bIns="45720" anchor="ctr"/>
          <a:lstStyle>
            <a:lvl1pPr marL="171450" indent="-17145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place icon here. To  remove text, place cursor then hit space bar]</a:t>
            </a:r>
          </a:p>
        </p:txBody>
      </p:sp>
      <p:sp>
        <p:nvSpPr>
          <p:cNvPr id="26" name="Text 3"/>
          <p:cNvSpPr>
            <a:spLocks noGrp="1"/>
          </p:cNvSpPr>
          <p:nvPr>
            <p:ph type="body" sz="quarter" idx="20" hasCustomPrompt="1"/>
          </p:nvPr>
        </p:nvSpPr>
        <p:spPr>
          <a:xfrm>
            <a:off x="2283278" y="3914354"/>
            <a:ext cx="9527722" cy="987552"/>
          </a:xfrm>
        </p:spPr>
        <p:txBody>
          <a:bodyPr lIns="137160" tIns="91440" rIns="137160" bIns="91440"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9" name="Hea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95300" y="3914354"/>
            <a:ext cx="1700784" cy="987552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 marL="171450" indent="-17145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place icon here. To  remove text, place cursor then hit space bar]</a:t>
            </a:r>
          </a:p>
        </p:txBody>
      </p:sp>
      <p:sp>
        <p:nvSpPr>
          <p:cNvPr id="25" name="Text 2"/>
          <p:cNvSpPr>
            <a:spLocks noGrp="1"/>
          </p:cNvSpPr>
          <p:nvPr>
            <p:ph type="body" sz="quarter" idx="19" hasCustomPrompt="1"/>
          </p:nvPr>
        </p:nvSpPr>
        <p:spPr>
          <a:xfrm>
            <a:off x="2279650" y="2888302"/>
            <a:ext cx="9527722" cy="987552"/>
          </a:xfrm>
        </p:spPr>
        <p:txBody>
          <a:bodyPr lIns="137160" tIns="91440" rIns="137160" bIns="91440"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8" name="Hea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2887905"/>
            <a:ext cx="1700784" cy="987552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 marL="171450" indent="-17145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place icon here. To  remove text, place cursor then hit space bar]</a:t>
            </a:r>
          </a:p>
        </p:txBody>
      </p:sp>
      <p:sp>
        <p:nvSpPr>
          <p:cNvPr id="9" name="Text 1"/>
          <p:cNvSpPr>
            <a:spLocks noGrp="1"/>
          </p:cNvSpPr>
          <p:nvPr>
            <p:ph type="body" sz="quarter" idx="18" hasCustomPrompt="1"/>
          </p:nvPr>
        </p:nvSpPr>
        <p:spPr>
          <a:xfrm>
            <a:off x="2279650" y="1861456"/>
            <a:ext cx="9527722" cy="987552"/>
          </a:xfrm>
        </p:spPr>
        <p:txBody>
          <a:bodyPr lIns="137160" tIns="91440" rIns="137160" bIns="91440"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1861456"/>
            <a:ext cx="1700784" cy="987552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marL="171450" indent="-17145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place icon here. To  remove text, place cursor then hit space bar]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4 row icon | Type insightful headline in sentence case | 1 line</a:t>
            </a:r>
          </a:p>
        </p:txBody>
      </p:sp>
      <p:sp>
        <p:nvSpPr>
          <p:cNvPr id="16" name="Rectangle 15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7" name="Rectangle 16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8" name="Rectangle 1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9" name="Rectangle 18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E4489A75-66BB-46DC-ACA9-50A57207FD08}" type="datetime1">
              <a:rPr lang="en-US" smtClean="0"/>
              <a:t>3/4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134017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Row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5"/>
          <p:cNvSpPr>
            <a:spLocks noGrp="1"/>
          </p:cNvSpPr>
          <p:nvPr>
            <p:ph type="body" sz="quarter" idx="24" hasCustomPrompt="1"/>
          </p:nvPr>
        </p:nvSpPr>
        <p:spPr>
          <a:xfrm>
            <a:off x="1632857" y="5133905"/>
            <a:ext cx="10178143" cy="768096"/>
          </a:xfrm>
        </p:spPr>
        <p:txBody>
          <a:bodyPr lIns="137160" tIns="91440" rIns="137160" bIns="91440"/>
          <a:lstStyle>
            <a:lvl1pPr>
              <a:defRPr sz="1600"/>
            </a:lvl1pPr>
            <a:lvl2pPr>
              <a:defRPr sz="1400"/>
            </a:lvl2pPr>
          </a:lstStyle>
          <a:p>
            <a:pPr lvl="0"/>
            <a:r>
              <a:rPr lang="en-US" dirty="0"/>
              <a:t>Level 1 text is 16 </a:t>
            </a:r>
            <a:r>
              <a:rPr lang="en-US" dirty="0" err="1"/>
              <a:t>pt</a:t>
            </a:r>
            <a:r>
              <a:rPr lang="en-US" dirty="0"/>
              <a:t>, hit return then Tab to get to level 2 – 14 </a:t>
            </a:r>
            <a:r>
              <a:rPr lang="en-US" dirty="0" err="1"/>
              <a:t>pt</a:t>
            </a:r>
            <a:r>
              <a:rPr lang="en-US" dirty="0"/>
              <a:t>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Hea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495300" y="5143150"/>
            <a:ext cx="1050471" cy="768096"/>
          </a:xfrm>
          <a:solidFill>
            <a:srgbClr val="A22B38"/>
          </a:solidFill>
        </p:spPr>
        <p:txBody>
          <a:bodyPr lIns="137160" tIns="45720" rIns="137160" bIns="45720" anchor="ctr"/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9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Delete this text  and place icon here]</a:t>
            </a:r>
          </a:p>
        </p:txBody>
      </p:sp>
      <p:sp>
        <p:nvSpPr>
          <p:cNvPr id="14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1629229" y="4315792"/>
            <a:ext cx="10178143" cy="768096"/>
          </a:xfrm>
        </p:spPr>
        <p:txBody>
          <a:bodyPr lIns="137160" tIns="91440" rIns="137160" bIns="91440"/>
          <a:lstStyle>
            <a:lvl1pPr>
              <a:defRPr sz="1600"/>
            </a:lvl1pPr>
            <a:lvl2pPr>
              <a:defRPr sz="1400"/>
            </a:lvl2pPr>
          </a:lstStyle>
          <a:p>
            <a:pPr lvl="0"/>
            <a:r>
              <a:rPr lang="en-US" dirty="0"/>
              <a:t>Level 1 text is 16 </a:t>
            </a:r>
            <a:r>
              <a:rPr lang="en-US" dirty="0" err="1"/>
              <a:t>pt</a:t>
            </a:r>
            <a:r>
              <a:rPr lang="en-US" dirty="0"/>
              <a:t>, hit return then Tab to get to level 2 – 14 </a:t>
            </a:r>
            <a:r>
              <a:rPr lang="en-US" dirty="0" err="1"/>
              <a:t>pt</a:t>
            </a:r>
            <a:r>
              <a:rPr lang="en-US" dirty="0"/>
              <a:t>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Hea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495300" y="4322728"/>
            <a:ext cx="1050471" cy="768096"/>
          </a:xfrm>
          <a:solidFill>
            <a:schemeClr val="accent1"/>
          </a:solidFill>
        </p:spPr>
        <p:txBody>
          <a:bodyPr lIns="137160" tIns="45720" rIns="137160" bIns="45720" anchor="ctr"/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9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Delete this text  and place icon here]</a:t>
            </a:r>
          </a:p>
        </p:txBody>
      </p:sp>
      <p:sp>
        <p:nvSpPr>
          <p:cNvPr id="26" name="Text 3"/>
          <p:cNvSpPr>
            <a:spLocks noGrp="1"/>
          </p:cNvSpPr>
          <p:nvPr>
            <p:ph type="body" sz="quarter" idx="20" hasCustomPrompt="1"/>
          </p:nvPr>
        </p:nvSpPr>
        <p:spPr>
          <a:xfrm>
            <a:off x="1632857" y="3497680"/>
            <a:ext cx="10178143" cy="768096"/>
          </a:xfrm>
        </p:spPr>
        <p:txBody>
          <a:bodyPr lIns="137160" tIns="91440" rIns="137160" bIns="91440"/>
          <a:lstStyle>
            <a:lvl1pPr>
              <a:defRPr sz="1600"/>
            </a:lvl1pPr>
            <a:lvl2pPr>
              <a:defRPr sz="1400"/>
            </a:lvl2pPr>
          </a:lstStyle>
          <a:p>
            <a:pPr lvl="0"/>
            <a:r>
              <a:rPr lang="en-US" dirty="0"/>
              <a:t>Level 1 text is 16 </a:t>
            </a:r>
            <a:r>
              <a:rPr lang="en-US" dirty="0" err="1"/>
              <a:t>pt</a:t>
            </a:r>
            <a:r>
              <a:rPr lang="en-US" dirty="0"/>
              <a:t>, hit return then Tab to get to level 2 – 14 </a:t>
            </a:r>
            <a:r>
              <a:rPr lang="en-US" dirty="0" err="1"/>
              <a:t>pt</a:t>
            </a:r>
            <a:r>
              <a:rPr lang="en-US" dirty="0"/>
              <a:t>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9" name="Hea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95300" y="3502304"/>
            <a:ext cx="1050471" cy="768096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9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Delete this text  and place icon here]</a:t>
            </a:r>
          </a:p>
        </p:txBody>
      </p:sp>
      <p:sp>
        <p:nvSpPr>
          <p:cNvPr id="25" name="Text 2"/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2679568"/>
            <a:ext cx="10178143" cy="768096"/>
          </a:xfrm>
        </p:spPr>
        <p:txBody>
          <a:bodyPr lIns="137160" tIns="91440" rIns="137160" bIns="91440"/>
          <a:lstStyle>
            <a:lvl1pPr>
              <a:defRPr sz="1600"/>
            </a:lvl1pPr>
            <a:lvl2pPr>
              <a:defRPr sz="1400"/>
            </a:lvl2pPr>
          </a:lstStyle>
          <a:p>
            <a:pPr lvl="0"/>
            <a:r>
              <a:rPr lang="en-US" dirty="0"/>
              <a:t>Level 1 text is 16 </a:t>
            </a:r>
            <a:r>
              <a:rPr lang="en-US" dirty="0" err="1"/>
              <a:t>pt</a:t>
            </a:r>
            <a:r>
              <a:rPr lang="en-US" dirty="0"/>
              <a:t>, hit return then Tab to get to level 2 – 14 </a:t>
            </a:r>
            <a:r>
              <a:rPr lang="en-US" dirty="0" err="1"/>
              <a:t>pt</a:t>
            </a:r>
            <a:r>
              <a:rPr lang="en-US" dirty="0"/>
              <a:t>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8" name="Hea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2681880"/>
            <a:ext cx="1050471" cy="768096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9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Delete this text  and place icon here]</a:t>
            </a:r>
          </a:p>
        </p:txBody>
      </p:sp>
      <p:sp>
        <p:nvSpPr>
          <p:cNvPr id="9" name="Text 1"/>
          <p:cNvSpPr>
            <a:spLocks noGrp="1"/>
          </p:cNvSpPr>
          <p:nvPr>
            <p:ph type="body" sz="quarter" idx="18" hasCustomPrompt="1"/>
          </p:nvPr>
        </p:nvSpPr>
        <p:spPr>
          <a:xfrm>
            <a:off x="1629229" y="1861456"/>
            <a:ext cx="10178143" cy="768096"/>
          </a:xfrm>
        </p:spPr>
        <p:txBody>
          <a:bodyPr lIns="137160" tIns="91440" rIns="137160" bIns="91440"/>
          <a:lstStyle>
            <a:lvl1pPr>
              <a:defRPr sz="1600"/>
            </a:lvl1pPr>
            <a:lvl2pPr>
              <a:defRPr sz="1400"/>
            </a:lvl2pPr>
          </a:lstStyle>
          <a:p>
            <a:pPr lvl="0"/>
            <a:r>
              <a:rPr lang="en-US" dirty="0"/>
              <a:t>Level 1 text is 16 pt, hit return then Tab to get to level 2 – 14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1861456"/>
            <a:ext cx="1050471" cy="768096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9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Delete this text  and place icon here]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 row icon | Type insightful headline in sentence case | 1 line</a:t>
            </a:r>
          </a:p>
        </p:txBody>
      </p:sp>
      <p:sp>
        <p:nvSpPr>
          <p:cNvPr id="18" name="Rectangle 17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9" name="Rectangle 18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0" name="Rectangle 1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1" name="Rectangle 20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8293799D-22C8-428E-90D7-05A2BF168E65}" type="datetime1">
              <a:rPr lang="en-US" smtClean="0"/>
              <a:t>3/4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66464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Clin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cbarthol\Desktop\Charlotte Work\Tools\PPT\Empower\2019 PPT cover images\3-hallway-nurse-doctor-tablet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0" y="-234"/>
            <a:ext cx="12192000" cy="6859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 bwMode="gray">
          <a:xfrm>
            <a:off x="0" y="-233"/>
            <a:ext cx="12068629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56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1" y="1104900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30" name="MIO_LOGOPLACEHOLDER#LowerLeftMediumWide" hidden="1"/>
          <p:cNvSpPr/>
          <p:nvPr/>
        </p:nvSpPr>
        <p:spPr>
          <a:xfrm>
            <a:off x="583916" y="5841607"/>
            <a:ext cx="584484" cy="63269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7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0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6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3143130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Row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mage Placeholder">
            <a:extLst>
              <a:ext uri="{FF2B5EF4-FFF2-40B4-BE49-F238E27FC236}">
                <a16:creationId xmlns:a16="http://schemas.microsoft.com/office/drawing/2014/main" id="{197EC4EA-E5E8-44D0-9F07-91A93F17A783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012113" y="1862138"/>
            <a:ext cx="3795712" cy="4041775"/>
          </a:xfrm>
          <a:blipFill>
            <a:blip r:embed="rId6"/>
            <a:stretch>
              <a:fillRect l="-425" t="-6228" r="636" b="-1156"/>
            </a:stretch>
          </a:blipFill>
        </p:spPr>
        <p:txBody>
          <a:bodyPr tIns="457200"/>
          <a:lstStyle>
            <a:lvl1pPr algn="ctr"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9" name="Text 1"/>
          <p:cNvSpPr>
            <a:spLocks noGrp="1"/>
          </p:cNvSpPr>
          <p:nvPr>
            <p:ph type="body" sz="quarter" idx="18" hasCustomPrompt="1"/>
          </p:nvPr>
        </p:nvSpPr>
        <p:spPr>
          <a:xfrm>
            <a:off x="495299" y="1861456"/>
            <a:ext cx="7429501" cy="128016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Text 2"/>
          <p:cNvSpPr>
            <a:spLocks noGrp="1"/>
          </p:cNvSpPr>
          <p:nvPr>
            <p:ph type="body" sz="quarter" idx="19" hasCustomPrompt="1"/>
          </p:nvPr>
        </p:nvSpPr>
        <p:spPr>
          <a:xfrm>
            <a:off x="495299" y="3242808"/>
            <a:ext cx="7429501" cy="128016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 3"/>
          <p:cNvSpPr>
            <a:spLocks noGrp="1"/>
          </p:cNvSpPr>
          <p:nvPr>
            <p:ph type="body" sz="quarter" idx="20" hasCustomPrompt="1"/>
          </p:nvPr>
        </p:nvSpPr>
        <p:spPr>
          <a:xfrm>
            <a:off x="495299" y="4624161"/>
            <a:ext cx="7429501" cy="128016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3 row w/photo | Type insightful headline in sentence case | 1 line</a:t>
            </a:r>
          </a:p>
        </p:txBody>
      </p:sp>
      <p:sp>
        <p:nvSpPr>
          <p:cNvPr id="12" name="Rectangle 11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3" name="Rectangle 12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4" name="Rectangle 1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5" name="Rectangle 14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EC6BD337-1505-42B6-839C-B5DAD748D153}" type="datetime1">
              <a:rPr lang="en-US" smtClean="0"/>
              <a:t>3/4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535320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Row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mage Placeholder">
            <a:extLst>
              <a:ext uri="{FF2B5EF4-FFF2-40B4-BE49-F238E27FC236}">
                <a16:creationId xmlns:a16="http://schemas.microsoft.com/office/drawing/2014/main" id="{9FCAFCC1-B988-40D7-A97B-9C6A91DB0F1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012113" y="1862138"/>
            <a:ext cx="3795712" cy="4041775"/>
          </a:xfrm>
          <a:blipFill>
            <a:blip r:embed="rId6"/>
            <a:stretch>
              <a:fillRect l="-425" t="-6228" r="636" b="-1156"/>
            </a:stretch>
          </a:blipFill>
        </p:spPr>
        <p:txBody>
          <a:bodyPr tIns="457200"/>
          <a:lstStyle>
            <a:lvl1pPr algn="ctr"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1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4945380"/>
            <a:ext cx="7429500" cy="96012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 3"/>
          <p:cNvSpPr>
            <a:spLocks noGrp="1"/>
          </p:cNvSpPr>
          <p:nvPr>
            <p:ph type="body" sz="quarter" idx="20" hasCustomPrompt="1"/>
          </p:nvPr>
        </p:nvSpPr>
        <p:spPr>
          <a:xfrm>
            <a:off x="495300" y="3917405"/>
            <a:ext cx="7429500" cy="96012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Text 2"/>
          <p:cNvSpPr>
            <a:spLocks noGrp="1"/>
          </p:cNvSpPr>
          <p:nvPr>
            <p:ph type="body" sz="quarter" idx="19" hasCustomPrompt="1"/>
          </p:nvPr>
        </p:nvSpPr>
        <p:spPr>
          <a:xfrm>
            <a:off x="495300" y="2889431"/>
            <a:ext cx="7429500" cy="96012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1"/>
          <p:cNvSpPr>
            <a:spLocks noGrp="1"/>
          </p:cNvSpPr>
          <p:nvPr>
            <p:ph type="body" sz="quarter" idx="18" hasCustomPrompt="1"/>
          </p:nvPr>
        </p:nvSpPr>
        <p:spPr>
          <a:xfrm>
            <a:off x="495300" y="1861457"/>
            <a:ext cx="7429500" cy="96012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4 row w/photo | Type insightful headline in sentence case | 1 line</a:t>
            </a:r>
          </a:p>
        </p:txBody>
      </p:sp>
      <p:sp>
        <p:nvSpPr>
          <p:cNvPr id="14" name="Rectangle 13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5" name="Rectangle 14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6" name="Rectangle 1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7" name="Rectangle 16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6E01D1CC-BD88-43BC-84EF-DEE041CAE53C}" type="datetime1">
              <a:rPr lang="en-US" smtClean="0"/>
              <a:t>3/4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758970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Row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mage Placeholder">
            <a:extLst>
              <a:ext uri="{FF2B5EF4-FFF2-40B4-BE49-F238E27FC236}">
                <a16:creationId xmlns:a16="http://schemas.microsoft.com/office/drawing/2014/main" id="{C54D5A4F-E02F-439F-9BD1-83F4D6C5E4B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012113" y="1862138"/>
            <a:ext cx="3795712" cy="4041775"/>
          </a:xfrm>
          <a:blipFill>
            <a:blip r:embed="rId6"/>
            <a:stretch>
              <a:fillRect l="-425" t="-6228" r="636" b="-1156"/>
            </a:stretch>
          </a:blipFill>
        </p:spPr>
        <p:txBody>
          <a:bodyPr tIns="457200"/>
          <a:lstStyle>
            <a:lvl1pPr algn="ctr"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3" name="Text 5"/>
          <p:cNvSpPr>
            <a:spLocks noGrp="1"/>
          </p:cNvSpPr>
          <p:nvPr>
            <p:ph type="body" sz="quarter" idx="23" hasCustomPrompt="1"/>
          </p:nvPr>
        </p:nvSpPr>
        <p:spPr>
          <a:xfrm>
            <a:off x="495300" y="5200467"/>
            <a:ext cx="7429500" cy="732245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4 </a:t>
            </a:r>
            <a:r>
              <a:rPr lang="en-US" dirty="0" err="1"/>
              <a:t>pt</a:t>
            </a:r>
            <a:r>
              <a:rPr lang="en-US" dirty="0"/>
              <a:t>, hit return then Tab to get to level 2 – 12 </a:t>
            </a:r>
            <a:r>
              <a:rPr lang="en-US" dirty="0" err="1"/>
              <a:t>pt</a:t>
            </a:r>
            <a:r>
              <a:rPr lang="en-US" dirty="0"/>
              <a:t>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4365713"/>
            <a:ext cx="7429500" cy="732245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4 </a:t>
            </a:r>
            <a:r>
              <a:rPr lang="en-US" dirty="0" err="1"/>
              <a:t>pt</a:t>
            </a:r>
            <a:r>
              <a:rPr lang="en-US" dirty="0"/>
              <a:t>, hit return then Tab to get to level 2 – 12 </a:t>
            </a:r>
            <a:r>
              <a:rPr lang="en-US" dirty="0" err="1"/>
              <a:t>pt</a:t>
            </a:r>
            <a:r>
              <a:rPr lang="en-US" dirty="0"/>
              <a:t>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 3"/>
          <p:cNvSpPr>
            <a:spLocks noGrp="1"/>
          </p:cNvSpPr>
          <p:nvPr>
            <p:ph type="body" sz="quarter" idx="20" hasCustomPrompt="1"/>
          </p:nvPr>
        </p:nvSpPr>
        <p:spPr>
          <a:xfrm>
            <a:off x="495300" y="3530961"/>
            <a:ext cx="7429500" cy="732245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4 </a:t>
            </a:r>
            <a:r>
              <a:rPr lang="en-US" dirty="0" err="1"/>
              <a:t>pt</a:t>
            </a:r>
            <a:r>
              <a:rPr lang="en-US" dirty="0"/>
              <a:t>, hit return then Tab to get to level 2 – 12 </a:t>
            </a:r>
            <a:r>
              <a:rPr lang="en-US" dirty="0" err="1"/>
              <a:t>pt</a:t>
            </a:r>
            <a:r>
              <a:rPr lang="en-US" dirty="0"/>
              <a:t>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Text 2"/>
          <p:cNvSpPr>
            <a:spLocks noGrp="1"/>
          </p:cNvSpPr>
          <p:nvPr>
            <p:ph type="body" sz="quarter" idx="19" hasCustomPrompt="1"/>
          </p:nvPr>
        </p:nvSpPr>
        <p:spPr>
          <a:xfrm>
            <a:off x="495300" y="2696209"/>
            <a:ext cx="7429500" cy="732245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4 </a:t>
            </a:r>
            <a:r>
              <a:rPr lang="en-US" dirty="0" err="1"/>
              <a:t>pt</a:t>
            </a:r>
            <a:r>
              <a:rPr lang="en-US" dirty="0"/>
              <a:t>, hit return then Tab to get to level 2 – 12 </a:t>
            </a:r>
            <a:r>
              <a:rPr lang="en-US" dirty="0" err="1"/>
              <a:t>pt</a:t>
            </a:r>
            <a:r>
              <a:rPr lang="en-US" dirty="0"/>
              <a:t>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1"/>
          <p:cNvSpPr>
            <a:spLocks noGrp="1"/>
          </p:cNvSpPr>
          <p:nvPr>
            <p:ph type="body" sz="quarter" idx="18" hasCustomPrompt="1"/>
          </p:nvPr>
        </p:nvSpPr>
        <p:spPr>
          <a:xfrm>
            <a:off x="495300" y="1861457"/>
            <a:ext cx="7429500" cy="732245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4 pt, hit return then Tab to get to level 2 – 12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 row w/photo | Type insightful headline in sentence case | 1 line</a:t>
            </a:r>
          </a:p>
        </p:txBody>
      </p:sp>
      <p:sp>
        <p:nvSpPr>
          <p:cNvPr id="14" name="Rectangle 13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6" name="Rectangle 15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7" name="Rectangle 1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8" name="Rectangle 17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7FD2ECD7-129B-438D-A269-E2D1ACF3E3CA}" type="datetime1">
              <a:rPr lang="en-US" smtClean="0"/>
              <a:t>3/4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88173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 hidden="1"/>
          <p:cNvSpPr/>
          <p:nvPr userDrawn="1">
            <p:custDataLst>
              <p:tags r:id="rId1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0" name="Rectangle 9" hidden="1"/>
          <p:cNvSpPr/>
          <p:nvPr userDrawn="1">
            <p:custDataLst>
              <p:tags r:id="rId2"/>
            </p:custDataLst>
          </p:nvPr>
        </p:nvSpPr>
        <p:spPr>
          <a:xfrm>
            <a:off x="457200" y="301336"/>
            <a:ext cx="11353800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2" name="MIO_LOGOPLACEHOLDER#LowerLeftSmallWide" hidden="1">
            <a:extLst>
              <a:ext uri="{FF2B5EF4-FFF2-40B4-BE49-F238E27FC236}">
                <a16:creationId xmlns:a16="http://schemas.microsoft.com/office/drawing/2014/main" id="{F1CCE3E9-DCB6-4940-A85B-0B453D43F2D3}"/>
              </a:ext>
            </a:extLst>
          </p:cNvPr>
          <p:cNvSpPr/>
          <p:nvPr userDrawn="1"/>
        </p:nvSpPr>
        <p:spPr>
          <a:xfrm>
            <a:off x="394913" y="6174567"/>
            <a:ext cx="1993392" cy="43891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endParaRPr lang="en-US" sz="2000" b="0" i="0" u="none" baseline="0" dirty="0">
              <a:solidFill>
                <a:srgbClr val="55565A"/>
              </a:solidFill>
              <a:latin typeface="Arial" panose="020B0604020202020204" pitchFamily="34" charset="0"/>
            </a:endParaRPr>
          </a:p>
        </p:txBody>
      </p:sp>
      <p:pic>
        <p:nvPicPr>
          <p:cNvPr id="11" name="Optum#LowerLeftSmallWide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112" y="6171438"/>
            <a:ext cx="1455386" cy="438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9D1A9D-3D28-424B-AE57-48C268D525B9}" type="datetime1">
              <a:rPr lang="en-US" smtClean="0"/>
              <a:t>3/4/20</a:t>
            </a:fld>
            <a:endParaRPr lang="en-US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281866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514349" y="1828800"/>
            <a:ext cx="7178221" cy="21288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Subtitle"/>
          <p:cNvSpPr>
            <a:spLocks noGrp="1"/>
          </p:cNvSpPr>
          <p:nvPr>
            <p:ph type="body" idx="1" hasCustomPrompt="1"/>
          </p:nvPr>
        </p:nvSpPr>
        <p:spPr bwMode="gray">
          <a:xfrm>
            <a:off x="514349" y="4122057"/>
            <a:ext cx="7178221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sp>
        <p:nvSpPr>
          <p:cNvPr id="17" name="MIO_LOGOPLACEHOLDER#LowerLeftMediumWide" hidden="1"/>
          <p:cNvSpPr/>
          <p:nvPr userDrawn="1"/>
        </p:nvSpPr>
        <p:spPr>
          <a:xfrm>
            <a:off x="392112" y="6174567"/>
            <a:ext cx="1890821" cy="435783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8" name="Rectangle 7" hidden="1"/>
          <p:cNvSpPr/>
          <p:nvPr userDrawn="1">
            <p:custDataLst>
              <p:tags r:id="rId1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9" name="Rectangle 8" hidden="1"/>
          <p:cNvSpPr/>
          <p:nvPr userDrawn="1">
            <p:custDataLst>
              <p:tags r:id="rId2"/>
            </p:custDataLst>
          </p:nvPr>
        </p:nvSpPr>
        <p:spPr>
          <a:xfrm>
            <a:off x="457200" y="301336"/>
            <a:ext cx="11353800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3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460217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514349" y="1828800"/>
            <a:ext cx="7178221" cy="21288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Subtitle"/>
          <p:cNvSpPr>
            <a:spLocks noGrp="1"/>
          </p:cNvSpPr>
          <p:nvPr>
            <p:ph type="body" idx="1" hasCustomPrompt="1"/>
          </p:nvPr>
        </p:nvSpPr>
        <p:spPr bwMode="gray">
          <a:xfrm>
            <a:off x="514349" y="4122057"/>
            <a:ext cx="7178221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A5DB066-2C57-4BDC-B3C4-D5AA4E54C31C}"/>
              </a:ext>
            </a:extLst>
          </p:cNvPr>
          <p:cNvSpPr/>
          <p:nvPr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FC9A3B4-1B40-4F34-AA17-D0A2CDDEFB09}"/>
              </a:ext>
            </a:extLst>
          </p:cNvPr>
          <p:cNvSpPr/>
          <p:nvPr userDrawn="1"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19" name="MIO_LOGOPLACEHOLDER#LowerLeftMediumWide" hidden="1"/>
          <p:cNvSpPr/>
          <p:nvPr userDrawn="1"/>
        </p:nvSpPr>
        <p:spPr>
          <a:xfrm>
            <a:off x="392112" y="6174567"/>
            <a:ext cx="1890821" cy="435783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8" name="Rectangle 7" hidden="1"/>
          <p:cNvSpPr/>
          <p:nvPr userDrawn="1">
            <p:custDataLst>
              <p:tags r:id="rId1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0" name="Rectangle 9" hidden="1"/>
          <p:cNvSpPr/>
          <p:nvPr userDrawn="1">
            <p:custDataLst>
              <p:tags r:id="rId2"/>
            </p:custDataLst>
          </p:nvPr>
        </p:nvSpPr>
        <p:spPr>
          <a:xfrm>
            <a:off x="457200" y="301336"/>
            <a:ext cx="11353800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5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6602994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D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514349" y="1828800"/>
            <a:ext cx="7178221" cy="21288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Subtitle"/>
          <p:cNvSpPr>
            <a:spLocks noGrp="1"/>
          </p:cNvSpPr>
          <p:nvPr>
            <p:ph type="body" idx="1" hasCustomPrompt="1"/>
          </p:nvPr>
        </p:nvSpPr>
        <p:spPr bwMode="gray">
          <a:xfrm>
            <a:off x="514349" y="4122057"/>
            <a:ext cx="7178221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9B94BD7-F6CB-4633-B827-DCC8BE5FE864}"/>
              </a:ext>
            </a:extLst>
          </p:cNvPr>
          <p:cNvSpPr/>
          <p:nvPr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70C7A8F-AE53-4820-A109-E17355C4C028}"/>
              </a:ext>
            </a:extLst>
          </p:cNvPr>
          <p:cNvSpPr/>
          <p:nvPr userDrawn="1"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19" name="MIO_LOGOPLACEHOLDER#LowerLeftMediumWide" hidden="1"/>
          <p:cNvSpPr/>
          <p:nvPr userDrawn="1"/>
        </p:nvSpPr>
        <p:spPr>
          <a:xfrm>
            <a:off x="392112" y="6174567"/>
            <a:ext cx="1890821" cy="435783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8" name="Rectangle 7" hidden="1"/>
          <p:cNvSpPr/>
          <p:nvPr userDrawn="1">
            <p:custDataLst>
              <p:tags r:id="rId1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0" name="Rectangle 9" hidden="1"/>
          <p:cNvSpPr/>
          <p:nvPr userDrawn="1">
            <p:custDataLst>
              <p:tags r:id="rId2"/>
            </p:custDataLst>
          </p:nvPr>
        </p:nvSpPr>
        <p:spPr>
          <a:xfrm>
            <a:off x="457200" y="301336"/>
            <a:ext cx="11353800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5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3493978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Med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514349" y="1828800"/>
            <a:ext cx="7178221" cy="21288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Subtitle"/>
          <p:cNvSpPr>
            <a:spLocks noGrp="1"/>
          </p:cNvSpPr>
          <p:nvPr>
            <p:ph type="body" idx="1" hasCustomPrompt="1"/>
          </p:nvPr>
        </p:nvSpPr>
        <p:spPr bwMode="gray">
          <a:xfrm>
            <a:off x="514349" y="4122057"/>
            <a:ext cx="7178221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3B694CC-B592-44F3-8181-C62CCD2755B7}"/>
              </a:ext>
            </a:extLst>
          </p:cNvPr>
          <p:cNvSpPr/>
          <p:nvPr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1BC29CE-FDE1-4EE7-87CF-02422434B872}"/>
              </a:ext>
            </a:extLst>
          </p:cNvPr>
          <p:cNvSpPr/>
          <p:nvPr userDrawn="1"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19" name="MIO_LOGOPLACEHOLDER#LowerLeftMediumWide" hidden="1"/>
          <p:cNvSpPr/>
          <p:nvPr userDrawn="1"/>
        </p:nvSpPr>
        <p:spPr>
          <a:xfrm>
            <a:off x="392112" y="6174567"/>
            <a:ext cx="1890821" cy="435783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8" name="Rectangle 7" hidden="1"/>
          <p:cNvSpPr/>
          <p:nvPr userDrawn="1">
            <p:custDataLst>
              <p:tags r:id="rId1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0" name="Rectangle 9" hidden="1"/>
          <p:cNvSpPr/>
          <p:nvPr userDrawn="1">
            <p:custDataLst>
              <p:tags r:id="rId2"/>
            </p:custDataLst>
          </p:nvPr>
        </p:nvSpPr>
        <p:spPr>
          <a:xfrm>
            <a:off x="457200" y="301336"/>
            <a:ext cx="11353800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5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7297121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- Customiz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514349" y="1104900"/>
            <a:ext cx="5378451" cy="28527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Subtitle"/>
          <p:cNvSpPr>
            <a:spLocks noGrp="1"/>
          </p:cNvSpPr>
          <p:nvPr>
            <p:ph type="body" idx="1" hasCustomPrompt="1"/>
          </p:nvPr>
        </p:nvSpPr>
        <p:spPr bwMode="gray">
          <a:xfrm>
            <a:off x="514349" y="4122057"/>
            <a:ext cx="5378451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sp>
        <p:nvSpPr>
          <p:cNvPr id="5" name="Imag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134100" y="0"/>
            <a:ext cx="6057900" cy="6858000"/>
          </a:xfrm>
          <a:blipFill>
            <a:blip r:embed="rId5"/>
            <a:stretch>
              <a:fillRect/>
            </a:stretch>
          </a:blipFill>
        </p:spPr>
        <p:txBody>
          <a:bodyPr lIns="914400" rIns="914400" anchor="ctr"/>
          <a:lstStyle>
            <a:lvl1pPr algn="ctr"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6" name="MIO_LOGOPLACEHOLDER#LowerLeftMediumWide" hidden="1"/>
          <p:cNvSpPr/>
          <p:nvPr userDrawn="1"/>
        </p:nvSpPr>
        <p:spPr>
          <a:xfrm>
            <a:off x="392112" y="6174567"/>
            <a:ext cx="1890821" cy="435783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7" name="Rectangle 6" hidden="1"/>
          <p:cNvSpPr/>
          <p:nvPr userDrawn="1">
            <p:custDataLst>
              <p:tags r:id="rId1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8" name="Rectangle 7" hidden="1"/>
          <p:cNvSpPr/>
          <p:nvPr userDrawn="1">
            <p:custDataLst>
              <p:tags r:id="rId2"/>
            </p:custDataLst>
          </p:nvPr>
        </p:nvSpPr>
        <p:spPr>
          <a:xfrm>
            <a:off x="457200" y="301336"/>
            <a:ext cx="5421086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4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4163420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 hidden="1"/>
          <p:cNvSpPr/>
          <p:nvPr userDrawn="1">
            <p:custDataLst>
              <p:tags r:id="rId1"/>
            </p:custDataLst>
          </p:nvPr>
        </p:nvSpPr>
        <p:spPr>
          <a:xfrm>
            <a:off x="11185357" y="6392987"/>
            <a:ext cx="692317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MIO_LOGOPLACEHOLDER#CenterBigWide" hidden="1"/>
          <p:cNvSpPr/>
          <p:nvPr userDrawn="1"/>
        </p:nvSpPr>
        <p:spPr>
          <a:xfrm>
            <a:off x="3385009" y="2060721"/>
            <a:ext cx="994399" cy="1669691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457200" y="301336"/>
            <a:ext cx="11353800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7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5009" y="2122275"/>
            <a:ext cx="5332412" cy="16081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06382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Lifesty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C:\Users\cbarthol\Desktop\Charlotte Work\Tools\PPT\Empower\2019 PPT cover images\4-father-child-doctor-laptop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9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 bwMode="gray">
          <a:xfrm>
            <a:off x="1" y="-233"/>
            <a:ext cx="8550233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56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1" y="1104900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30" name="MIO_LOGOPLACEHOLDER#LowerLeftMediumWide" hidden="1"/>
          <p:cNvSpPr/>
          <p:nvPr/>
        </p:nvSpPr>
        <p:spPr>
          <a:xfrm>
            <a:off x="583916" y="5841607"/>
            <a:ext cx="584484" cy="63269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7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0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6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1580131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/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aker name"/>
          <p:cNvSpPr>
            <a:spLocks noGrp="1"/>
          </p:cNvSpPr>
          <p:nvPr>
            <p:ph type="title" hasCustomPrompt="1"/>
          </p:nvPr>
        </p:nvSpPr>
        <p:spPr bwMode="gray">
          <a:xfrm>
            <a:off x="514349" y="3904343"/>
            <a:ext cx="7178221" cy="482887"/>
          </a:xfrm>
        </p:spPr>
        <p:txBody>
          <a:bodyPr anchor="b"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First Name Last Name</a:t>
            </a:r>
          </a:p>
        </p:txBody>
      </p:sp>
      <p:sp>
        <p:nvSpPr>
          <p:cNvPr id="3" name="Speaker title"/>
          <p:cNvSpPr>
            <a:spLocks noGrp="1"/>
          </p:cNvSpPr>
          <p:nvPr>
            <p:ph type="body" idx="1" hasCustomPrompt="1"/>
          </p:nvPr>
        </p:nvSpPr>
        <p:spPr bwMode="gray">
          <a:xfrm>
            <a:off x="514349" y="4403068"/>
            <a:ext cx="7178221" cy="484632"/>
          </a:xfrm>
        </p:spPr>
        <p:txBody>
          <a:bodyPr anchor="t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9" name="Phone/email"/>
          <p:cNvSpPr>
            <a:spLocks noGrp="1"/>
          </p:cNvSpPr>
          <p:nvPr>
            <p:ph type="body" idx="10" hasCustomPrompt="1"/>
          </p:nvPr>
        </p:nvSpPr>
        <p:spPr bwMode="gray">
          <a:xfrm>
            <a:off x="514348" y="5003288"/>
            <a:ext cx="7178221" cy="484632"/>
          </a:xfrm>
        </p:spPr>
        <p:txBody>
          <a:bodyPr anchor="ctr"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el: 123-456-7890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CF35A84-66E1-4F72-848D-DB6EF4825F09}"/>
              </a:ext>
            </a:extLst>
          </p:cNvPr>
          <p:cNvSpPr/>
          <p:nvPr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3AAB011-BE67-4CF8-9EF1-35D61D12B95A}"/>
              </a:ext>
            </a:extLst>
          </p:cNvPr>
          <p:cNvSpPr/>
          <p:nvPr userDrawn="1"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35" name="MIO_LOGOPLACEHOLDER#LowerLeftMediumWide" hidden="1"/>
          <p:cNvSpPr/>
          <p:nvPr userDrawn="1"/>
        </p:nvSpPr>
        <p:spPr>
          <a:xfrm>
            <a:off x="392112" y="6174567"/>
            <a:ext cx="1890821" cy="435783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27" name="Thank you or main title"/>
          <p:cNvSpPr>
            <a:spLocks noGrp="1"/>
          </p:cNvSpPr>
          <p:nvPr>
            <p:ph type="body" sz="quarter" idx="11" hasCustomPrompt="1"/>
          </p:nvPr>
        </p:nvSpPr>
        <p:spPr>
          <a:xfrm>
            <a:off x="514348" y="638629"/>
            <a:ext cx="7178040" cy="2559019"/>
          </a:xfrm>
        </p:spPr>
        <p:txBody>
          <a:bodyPr anchor="b"/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nsert closing language</a:t>
            </a:r>
          </a:p>
        </p:txBody>
      </p:sp>
      <p:sp>
        <p:nvSpPr>
          <p:cNvPr id="26" name="Rectangle 25" hidden="1"/>
          <p:cNvSpPr/>
          <p:nvPr userDrawn="1">
            <p:custDataLst>
              <p:tags r:id="rId1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28" name="Sub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514348" y="3177964"/>
            <a:ext cx="7178040" cy="464911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nsert subhead if needed</a:t>
            </a:r>
          </a:p>
        </p:txBody>
      </p:sp>
      <p:pic>
        <p:nvPicPr>
          <p:cNvPr id="15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28948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Clin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4" name="Picture 4" descr="C:\Users\cbarthol\Desktop\Charlotte Work\Tools\PPT\Empower\2019 PPT cover images\5-doctor-tablet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12191999" cy="6859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 bwMode="gray">
          <a:xfrm>
            <a:off x="1" y="-233"/>
            <a:ext cx="10070274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56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1" y="1104900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30" name="MIO_LOGOPLACEHOLDER#LowerLeftMediumWide" hidden="1"/>
          <p:cNvSpPr/>
          <p:nvPr/>
        </p:nvSpPr>
        <p:spPr>
          <a:xfrm>
            <a:off x="583916" y="5841607"/>
            <a:ext cx="584484" cy="63269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7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0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6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18758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Busines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cbarthol\Desktop\Charlotte Work\Tools\PPT\Empower\2019 PPT cover images\meeting-post-its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-233"/>
            <a:ext cx="12191999" cy="6859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 bwMode="gray">
          <a:xfrm>
            <a:off x="1" y="-233"/>
            <a:ext cx="10070274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56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1" y="1104900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30" name="MIO_LOGOPLACEHOLDER#LowerLeftMediumWide" hidden="1"/>
          <p:cNvSpPr/>
          <p:nvPr/>
        </p:nvSpPr>
        <p:spPr>
          <a:xfrm>
            <a:off x="583916" y="5841607"/>
            <a:ext cx="584484" cy="63269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7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0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6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30970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Lifesty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1" name="Picture 3" descr="C:\Users\cbarthol\Desktop\Charlotte Work\Tools\PPT\Empower\2019 PPT cover images\7-woman-sitting-phone-mobile-16x9.jpeg"/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9" t="869"/>
          <a:stretch/>
        </p:blipFill>
        <p:spPr bwMode="auto">
          <a:xfrm>
            <a:off x="0" y="0"/>
            <a:ext cx="12191999" cy="6859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 bwMode="gray">
          <a:xfrm>
            <a:off x="1" y="-233"/>
            <a:ext cx="10070274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56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1" y="1104900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30" name="MIO_LOGOPLACEHOLDER#LowerLeftMediumWide" hidden="1"/>
          <p:cNvSpPr/>
          <p:nvPr/>
        </p:nvSpPr>
        <p:spPr>
          <a:xfrm>
            <a:off x="583916" y="5841607"/>
            <a:ext cx="584484" cy="63269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7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0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6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393421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Lifestyl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Users\cbarthol\Desktop\Charlotte Work\Tools\PPT\Empower\2019 PPT cover images\zion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-233"/>
            <a:ext cx="12192000" cy="6859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 bwMode="gray">
          <a:xfrm>
            <a:off x="0" y="-233"/>
            <a:ext cx="11008425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56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1" y="1104900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30" name="MIO_LOGOPLACEHOLDER#LowerLeftMediumWide" hidden="1"/>
          <p:cNvSpPr/>
          <p:nvPr/>
        </p:nvSpPr>
        <p:spPr>
          <a:xfrm>
            <a:off x="583916" y="5841607"/>
            <a:ext cx="584484" cy="63269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7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0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6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123152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Militar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C:\Users\cbarthol\Desktop\Charlotte Work\Tools\PPT\Empower\2019 PPT cover images\9-military-army-family-happy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34"/>
            <a:ext cx="12192000" cy="6859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 bwMode="gray">
          <a:xfrm>
            <a:off x="0" y="-233"/>
            <a:ext cx="11008425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56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1" y="1104900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30" name="MIO_LOGOPLACEHOLDER#LowerLeftMediumWide" hidden="1"/>
          <p:cNvSpPr/>
          <p:nvPr/>
        </p:nvSpPr>
        <p:spPr>
          <a:xfrm>
            <a:off x="583916" y="5841607"/>
            <a:ext cx="584484" cy="63269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7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0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7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972284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495300" y="0"/>
            <a:ext cx="11315700" cy="10740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"/>
          <p:cNvSpPr>
            <a:spLocks noGrp="1"/>
          </p:cNvSpPr>
          <p:nvPr>
            <p:ph type="body" idx="1"/>
          </p:nvPr>
        </p:nvSpPr>
        <p:spPr bwMode="gray">
          <a:xfrm>
            <a:off x="495300" y="1825625"/>
            <a:ext cx="11315700" cy="40744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419100" y="7039123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accent4"/>
                </a:solidFill>
              </a:defRPr>
            </a:lvl1pPr>
          </a:lstStyle>
          <a:p>
            <a:fld id="{510DAF7A-F987-4F1E-A936-E47EE3119E3D}" type="datetime1">
              <a:rPr lang="en-US" smtClean="0"/>
              <a:t>3/4/20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DB2CE75-020D-45A1-B141-8BC43E0F6356}"/>
              </a:ext>
            </a:extLst>
          </p:cNvPr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4E70631-2200-435E-8B78-C15380687CB2}"/>
              </a:ext>
            </a:extLst>
          </p:cNvPr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EB69FDF-A621-430B-ADCC-6492A766DF3E}"/>
              </a:ext>
            </a:extLst>
          </p:cNvPr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MIO_LOGOPLACEHOLDER#LowerLeftSmallWide" hidden="1"/>
          <p:cNvSpPr/>
          <p:nvPr/>
        </p:nvSpPr>
        <p:spPr>
          <a:xfrm>
            <a:off x="392112" y="6174567"/>
            <a:ext cx="1890821" cy="43578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8" name="empower - DO NOT DELETE!!!" hidden="1"/>
          <p:cNvSpPr/>
          <p:nvPr>
            <p:custDataLst>
              <p:tags r:id="rId42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08C8B57B-BCDA-4101-B4DD-87F49D6D31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5408" y="6448111"/>
            <a:ext cx="539496" cy="2308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4"/>
                </a:solidFill>
              </a:defRPr>
            </a:lvl1pPr>
          </a:lstStyle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extBox 5" hidden="1"/>
          <p:cNvSpPr txBox="1"/>
          <p:nvPr>
            <p:custDataLst>
              <p:tags r:id="rId43"/>
            </p:custDataLst>
          </p:nvPr>
        </p:nvSpPr>
        <p:spPr>
          <a:xfrm rot="20625550">
            <a:off x="1934612" y="2925786"/>
            <a:ext cx="8322776" cy="100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lnSpc>
                <a:spcPct val="90000"/>
              </a:lnSpc>
              <a:spcAft>
                <a:spcPts val="400"/>
              </a:spcAft>
            </a:pPr>
            <a:endParaRPr lang="en-US" sz="6600" dirty="0">
              <a:solidFill>
                <a:schemeClr val="accent5">
                  <a:lumMod val="20000"/>
                  <a:lumOff val="80000"/>
                </a:schemeClr>
              </a:solidFill>
            </a:endParaRPr>
          </a:p>
        </p:txBody>
      </p:sp>
      <p:pic>
        <p:nvPicPr>
          <p:cNvPr id="17" name="Optum#LowerLeftSmallWide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44"/>
            </p:custDataLst>
          </p:nvPr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112" y="6171438"/>
            <a:ext cx="1455386" cy="438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8001" y="6414340"/>
            <a:ext cx="8178408" cy="31324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en-US" sz="900">
                <a:solidFill>
                  <a:schemeClr val="accent4"/>
                </a:solidFill>
              </a:defRPr>
            </a:lvl1pPr>
          </a:lstStyle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</p:spTree>
    <p:extLst>
      <p:ext uri="{BB962C8B-B14F-4D97-AF65-F5344CB8AC3E}">
        <p14:creationId xmlns:p14="http://schemas.microsoft.com/office/powerpoint/2010/main" val="3129217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4" r:id="rId1"/>
    <p:sldLayoutId id="2147483965" r:id="rId2"/>
    <p:sldLayoutId id="2147483966" r:id="rId3"/>
    <p:sldLayoutId id="2147483967" r:id="rId4"/>
    <p:sldLayoutId id="2147483968" r:id="rId5"/>
    <p:sldLayoutId id="2147483969" r:id="rId6"/>
    <p:sldLayoutId id="2147483970" r:id="rId7"/>
    <p:sldLayoutId id="2147483971" r:id="rId8"/>
    <p:sldLayoutId id="2147483972" r:id="rId9"/>
    <p:sldLayoutId id="2147483973" r:id="rId10"/>
    <p:sldLayoutId id="2147483974" r:id="rId11"/>
    <p:sldLayoutId id="2147483975" r:id="rId12"/>
    <p:sldLayoutId id="2147483976" r:id="rId13"/>
    <p:sldLayoutId id="2147483977" r:id="rId14"/>
    <p:sldLayoutId id="2147483978" r:id="rId15"/>
    <p:sldLayoutId id="2147483979" r:id="rId16"/>
    <p:sldLayoutId id="2147483980" r:id="rId17"/>
    <p:sldLayoutId id="2147483981" r:id="rId18"/>
    <p:sldLayoutId id="2147483982" r:id="rId19"/>
    <p:sldLayoutId id="2147483983" r:id="rId20"/>
    <p:sldLayoutId id="2147483984" r:id="rId21"/>
    <p:sldLayoutId id="2147483985" r:id="rId22"/>
    <p:sldLayoutId id="2147483986" r:id="rId23"/>
    <p:sldLayoutId id="2147483987" r:id="rId24"/>
    <p:sldLayoutId id="2147483988" r:id="rId25"/>
    <p:sldLayoutId id="2147483989" r:id="rId26"/>
    <p:sldLayoutId id="2147483990" r:id="rId27"/>
    <p:sldLayoutId id="2147483991" r:id="rId28"/>
    <p:sldLayoutId id="2147483992" r:id="rId29"/>
    <p:sldLayoutId id="2147483993" r:id="rId30"/>
    <p:sldLayoutId id="2147483994" r:id="rId31"/>
    <p:sldLayoutId id="2147483995" r:id="rId32"/>
    <p:sldLayoutId id="2147483996" r:id="rId33"/>
    <p:sldLayoutId id="2147483997" r:id="rId34"/>
    <p:sldLayoutId id="2147483998" r:id="rId35"/>
    <p:sldLayoutId id="2147483999" r:id="rId36"/>
    <p:sldLayoutId id="2147484000" r:id="rId37"/>
    <p:sldLayoutId id="2147484001" r:id="rId38"/>
    <p:sldLayoutId id="2147484002" r:id="rId39"/>
    <p:sldLayoutId id="2147484003" r:id="rId4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rgbClr val="55565A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800"/>
        </a:spcBef>
        <a:spcAft>
          <a:spcPts val="600"/>
        </a:spcAft>
        <a:buFont typeface="Arial" panose="020B0604020202020204" pitchFamily="34" charset="0"/>
        <a:buChar char="​"/>
        <a:defRPr sz="2200" kern="1200">
          <a:solidFill>
            <a:schemeClr val="tx2"/>
          </a:solidFill>
          <a:latin typeface="+mn-lt"/>
          <a:ea typeface="+mn-ea"/>
          <a:cs typeface="+mn-cs"/>
        </a:defRPr>
      </a:lvl1pPr>
      <a:lvl2pPr marL="230188" indent="-230188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​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458788" indent="-230188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685800" indent="-2286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2286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914400" indent="-2286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914400" indent="-2286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914400" indent="-2286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72" pos="3816" userDrawn="1">
          <p15:clr>
            <a:srgbClr val="FDE53C"/>
          </p15:clr>
        </p15:guide>
        <p15:guide id="73" orient="horz" pos="3720" userDrawn="1">
          <p15:clr>
            <a:srgbClr val="F26B43"/>
          </p15:clr>
        </p15:guide>
        <p15:guide id="74" userDrawn="1">
          <p15:clr>
            <a:srgbClr val="F26B43"/>
          </p15:clr>
        </p15:guide>
        <p15:guide id="75" pos="7440" userDrawn="1">
          <p15:clr>
            <a:srgbClr val="F26B43"/>
          </p15:clr>
        </p15:guide>
        <p15:guide id="76" pos="264" userDrawn="1">
          <p15:clr>
            <a:srgbClr val="F26B43"/>
          </p15:clr>
        </p15:guide>
        <p15:guide id="77" orient="horz" pos="4080" userDrawn="1">
          <p15:clr>
            <a:srgbClr val="F26B43"/>
          </p15:clr>
        </p15:guide>
        <p15:guide id="78" pos="312" userDrawn="1">
          <p15:clr>
            <a:srgbClr val="F26B43"/>
          </p15:clr>
        </p15:guide>
        <p15:guide id="79" orient="horz" pos="240" userDrawn="1">
          <p15:clr>
            <a:srgbClr val="F26B43"/>
          </p15:clr>
        </p15:guide>
        <p15:guide id="80" orient="horz" pos="360" userDrawn="1">
          <p15:clr>
            <a:srgbClr val="F26B43"/>
          </p15:clr>
        </p15:guide>
        <p15:guide id="81" orient="horz" pos="696" userDrawn="1">
          <p15:clr>
            <a:srgbClr val="F26B43"/>
          </p15:clr>
        </p15:guide>
        <p15:guide id="82" orient="horz" pos="2472" userDrawn="1">
          <p15:clr>
            <a:srgbClr val="F26B43"/>
          </p15:clr>
        </p15:guide>
        <p15:guide id="83" orient="horz" pos="4224" userDrawn="1">
          <p15:clr>
            <a:srgbClr val="F26B43"/>
          </p15:clr>
        </p15:guide>
        <p15:guide id="84" pos="7392" userDrawn="1">
          <p15:clr>
            <a:srgbClr val="F26B43"/>
          </p15:clr>
        </p15:guide>
        <p15:guide id="85" pos="3864" userDrawn="1">
          <p15:clr>
            <a:srgbClr val="FDE53C"/>
          </p15:clr>
        </p15:guide>
        <p15:guide id="86" pos="2688" userDrawn="1">
          <p15:clr>
            <a:srgbClr val="F26B43"/>
          </p15:clr>
        </p15:guide>
        <p15:guide id="87" pos="4992" userDrawn="1">
          <p15:clr>
            <a:srgbClr val="F26B43"/>
          </p15:clr>
        </p15:guide>
        <p15:guide id="88" pos="2640" userDrawn="1">
          <p15:clr>
            <a:srgbClr val="F26B43"/>
          </p15:clr>
        </p15:guide>
        <p15:guide id="89" pos="5040" userDrawn="1">
          <p15:clr>
            <a:srgbClr val="F26B43"/>
          </p15:clr>
        </p15:guide>
        <p15:guide id="90" orient="horz" pos="2424" userDrawn="1">
          <p15:clr>
            <a:srgbClr val="F26B43"/>
          </p15:clr>
        </p15:guide>
        <p15:guide id="91" orient="horz" pos="115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tiff"/><Relationship Id="rId2" Type="http://schemas.openxmlformats.org/officeDocument/2006/relationships/image" Target="../media/image14.tiff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8.tiff"/><Relationship Id="rId5" Type="http://schemas.openxmlformats.org/officeDocument/2006/relationships/image" Target="../media/image17.tiff"/><Relationship Id="rId4" Type="http://schemas.openxmlformats.org/officeDocument/2006/relationships/image" Target="../media/image16.tif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tiff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tiff"/><Relationship Id="rId2" Type="http://schemas.openxmlformats.org/officeDocument/2006/relationships/image" Target="../media/image14.tiff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8.tiff"/><Relationship Id="rId5" Type="http://schemas.openxmlformats.org/officeDocument/2006/relationships/image" Target="../media/image17.tiff"/><Relationship Id="rId4" Type="http://schemas.openxmlformats.org/officeDocument/2006/relationships/image" Target="../media/image16.tif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tiff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CDBB091-2D7B-C840-8157-F3079D50DC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0356" y="781655"/>
            <a:ext cx="7576459" cy="515844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83FAA481-7BC3-5448-BD7C-4B9F87970C5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Elastic APM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087C79BD-B6AB-224E-8F60-B1FD8CBA7DE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Justin Chao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5713780-948A-0B46-BB7B-862C71F6C3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March 30, 2020</a:t>
            </a:r>
          </a:p>
        </p:txBody>
      </p:sp>
    </p:spTree>
    <p:extLst>
      <p:ext uri="{BB962C8B-B14F-4D97-AF65-F5344CB8AC3E}">
        <p14:creationId xmlns:p14="http://schemas.microsoft.com/office/powerpoint/2010/main" val="9255716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2CB49A6-A497-C84C-BFCB-48E942A1A8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ree Pillars of Observability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838674-EC05-654B-AC08-E6941C438B1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E436AD-90BB-8748-978C-2FB60EE279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3541A8C-4D50-014D-9DE4-6306F373E5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22520" y="1558011"/>
            <a:ext cx="7521530" cy="445061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F45EA61-BC20-2341-BF27-14002B9D59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09607" y="5427618"/>
            <a:ext cx="642257" cy="38535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47733FF-CB38-B240-B822-E4B1D3D4F4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54386" y="3028951"/>
            <a:ext cx="826143" cy="23132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4353388-9DFB-AF4A-9825-543E015387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53150" y="2745468"/>
            <a:ext cx="648607" cy="39914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BA0FCA6-038C-1343-A4E2-93F9C368D3E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95880" y="2769998"/>
            <a:ext cx="882650" cy="374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91046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2CB49A6-A497-C84C-BFCB-48E942A1A8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ervability Built on the Elastic Stack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838674-EC05-654B-AC08-E6941C438B1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E436AD-90BB-8748-978C-2FB60EE279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5A9C2F1-7682-2F4F-8E2C-2631D8720C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406" y="1357110"/>
            <a:ext cx="10381488" cy="4500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7973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2CB49A6-A497-C84C-BFCB-48E942A1A8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entralized Logging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838674-EC05-654B-AC08-E6941C438B1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E436AD-90BB-8748-978C-2FB60EE279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EEB9D77-47AE-0048-A01A-EF0A56AC11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2893" y="1200553"/>
            <a:ext cx="8080513" cy="5087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90224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2CB49A6-A497-C84C-BFCB-48E942A1A8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ree Pillars of Observability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838674-EC05-654B-AC08-E6941C438B1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E436AD-90BB-8748-978C-2FB60EE279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3541A8C-4D50-014D-9DE4-6306F373E5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22520" y="1558011"/>
            <a:ext cx="7521530" cy="445061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F45EA61-BC20-2341-BF27-14002B9D59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09607" y="5427618"/>
            <a:ext cx="642257" cy="38535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47733FF-CB38-B240-B822-E4B1D3D4F4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54386" y="3028951"/>
            <a:ext cx="826143" cy="23132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4353388-9DFB-AF4A-9825-543E015387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53150" y="2745468"/>
            <a:ext cx="648607" cy="39914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BA0FCA6-038C-1343-A4E2-93F9C368D3E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95880" y="2769998"/>
            <a:ext cx="882650" cy="374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7813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2CB49A6-A497-C84C-BFCB-48E942A1A8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Observability Landscap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838674-EC05-654B-AC08-E6941C438B1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E436AD-90BB-8748-978C-2FB60EE279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2F2341D-4AB7-6E43-93F1-5650FE83371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9135" y="1669335"/>
            <a:ext cx="9808029" cy="4183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40172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2CB49A6-A497-C84C-BFCB-48E942A1A8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lastic AP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838674-EC05-654B-AC08-E6941C438B1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E436AD-90BB-8748-978C-2FB60EE279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98FA463-02D4-1B42-8C06-282F394DA7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9538" y="2661524"/>
            <a:ext cx="10047224" cy="2165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88833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E347A93-E112-3B43-86E8-3344BB60771B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sz="2400" dirty="0"/>
              <a:t>Java</a:t>
            </a:r>
          </a:p>
          <a:p>
            <a:r>
              <a:rPr lang="en-US" sz="2400" dirty="0"/>
              <a:t>.NET</a:t>
            </a:r>
          </a:p>
          <a:p>
            <a:r>
              <a:rPr lang="en-US" sz="2400" dirty="0"/>
              <a:t>Node.js</a:t>
            </a:r>
          </a:p>
          <a:p>
            <a:r>
              <a:rPr lang="en-US" sz="2400" dirty="0"/>
              <a:t>Django</a:t>
            </a:r>
          </a:p>
          <a:p>
            <a:r>
              <a:rPr lang="en-US" sz="2400" dirty="0"/>
              <a:t>Flask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9DFBE3-9479-EC48-935C-EB1FA6F4E6F8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sz="2400" dirty="0"/>
              <a:t>Rails</a:t>
            </a:r>
          </a:p>
          <a:p>
            <a:r>
              <a:rPr lang="en-US" sz="2400" dirty="0"/>
              <a:t>Rack</a:t>
            </a:r>
          </a:p>
          <a:p>
            <a:r>
              <a:rPr lang="en-US" sz="2400" dirty="0"/>
              <a:t>RUM - JS</a:t>
            </a:r>
          </a:p>
          <a:p>
            <a:r>
              <a:rPr lang="en-US" sz="2400" dirty="0"/>
              <a:t>Go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739F5C7-D193-894F-8B78-BA12A292A2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ported Languages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E439205-1BBF-ED42-88EF-AF5B967C190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933EE5D-5F0E-7B47-8096-EE56B3DD967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27541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74F6A9-8B25-1D47-BBB8-7A90DE9652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Supported Technologi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CC63B-C2D1-C640-8FBF-037B7AC9DE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.NET Core 2.0 (or newer)    .NET Framework 4.6.1 (or newer)</a:t>
            </a:r>
          </a:p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0AB869-1602-CF4F-BB25-03EF0AE90C0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09B177-5E1D-4C4A-A4FA-C8D4AA97CCB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6</a:t>
            </a:fld>
            <a:endParaRPr lang="en-US" dirty="0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00B7D23-A46E-0040-B953-D1347583B8B9}"/>
              </a:ext>
            </a:extLst>
          </p:cNvPr>
          <p:cNvGraphicFramePr>
            <a:graphicFrameLocks noGrp="1"/>
          </p:cNvGraphicFramePr>
          <p:nvPr/>
        </p:nvGraphicFramePr>
        <p:xfrm>
          <a:off x="495300" y="1790499"/>
          <a:ext cx="5418666" cy="1381760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2709333">
                  <a:extLst>
                    <a:ext uri="{9D8B030D-6E8A-4147-A177-3AD203B41FA5}">
                      <a16:colId xmlns:a16="http://schemas.microsoft.com/office/drawing/2014/main" val="632952990"/>
                    </a:ext>
                  </a:extLst>
                </a:gridCol>
                <a:gridCol w="2709333">
                  <a:extLst>
                    <a:ext uri="{9D8B030D-6E8A-4147-A177-3AD203B41FA5}">
                      <a16:colId xmlns:a16="http://schemas.microsoft.com/office/drawing/2014/main" val="258707052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Web Framewor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upported Versio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9242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ASP.NET Co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.1 and lat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83978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ASP.NET on II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.6.1 or newer (IIS 7.0 or newer)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8204118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6FBD99A6-D1A7-B44C-8CF0-2F717304ED93}"/>
              </a:ext>
            </a:extLst>
          </p:cNvPr>
          <p:cNvGraphicFramePr>
            <a:graphicFrameLocks noGrp="1"/>
          </p:cNvGraphicFramePr>
          <p:nvPr/>
        </p:nvGraphicFramePr>
        <p:xfrm>
          <a:off x="495300" y="3478348"/>
          <a:ext cx="11309604" cy="2748280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3769868">
                  <a:extLst>
                    <a:ext uri="{9D8B030D-6E8A-4147-A177-3AD203B41FA5}">
                      <a16:colId xmlns:a16="http://schemas.microsoft.com/office/drawing/2014/main" val="632952990"/>
                    </a:ext>
                  </a:extLst>
                </a:gridCol>
                <a:gridCol w="3769868">
                  <a:extLst>
                    <a:ext uri="{9D8B030D-6E8A-4147-A177-3AD203B41FA5}">
                      <a16:colId xmlns:a16="http://schemas.microsoft.com/office/drawing/2014/main" val="2587070520"/>
                    </a:ext>
                  </a:extLst>
                </a:gridCol>
                <a:gridCol w="3769868">
                  <a:extLst>
                    <a:ext uri="{9D8B030D-6E8A-4147-A177-3AD203B41FA5}">
                      <a16:colId xmlns:a16="http://schemas.microsoft.com/office/drawing/2014/main" val="253461707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Data access technolog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upported Vers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9242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Entity Framework (EF) Co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.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 DB span is automatically created for each access to underlying database performed by Entity Framework Core.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83978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Entity Framework (EF) 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.6.1 or newer (IIS 7.0 or newer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 DB span is automatically created for each access to underlying database performed by Entity Framework 6.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8204118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A628EA8C-609B-A54E-B351-A33CB0E5BDF9}"/>
              </a:ext>
            </a:extLst>
          </p:cNvPr>
          <p:cNvGraphicFramePr>
            <a:graphicFrameLocks noGrp="1"/>
          </p:cNvGraphicFramePr>
          <p:nvPr/>
        </p:nvGraphicFramePr>
        <p:xfrm>
          <a:off x="6150102" y="1798119"/>
          <a:ext cx="5654802" cy="1112520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5654802">
                  <a:extLst>
                    <a:ext uri="{9D8B030D-6E8A-4147-A177-3AD203B41FA5}">
                      <a16:colId xmlns:a16="http://schemas.microsoft.com/office/drawing/2014/main" val="63295299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latin typeface="+mn-lt"/>
                        </a:rPr>
                        <a:t>Networking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9242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t"/>
                      <a:r>
                        <a:rPr lang="en-US" dirty="0" err="1">
                          <a:effectLst/>
                          <a:latin typeface="+mn-lt"/>
                        </a:rPr>
                        <a:t>System.Net.Http.HttpClient</a:t>
                      </a:r>
                      <a:r>
                        <a:rPr lang="en-US" dirty="0">
                          <a:effectLst/>
                          <a:latin typeface="+mn-lt"/>
                        </a:rPr>
                        <a:t> on .NET Core</a:t>
                      </a:r>
                    </a:p>
                  </a:txBody>
                  <a:tcPr marL="38100" marR="38100" marT="38100" marB="38100"/>
                </a:tc>
                <a:extLst>
                  <a:ext uri="{0D108BD9-81ED-4DB2-BD59-A6C34878D82A}">
                    <a16:rowId xmlns:a16="http://schemas.microsoft.com/office/drawing/2014/main" val="12283978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t"/>
                      <a:r>
                        <a:rPr lang="en-US" dirty="0" err="1">
                          <a:effectLst/>
                          <a:latin typeface="+mn-lt"/>
                        </a:rPr>
                        <a:t>System.Net.Http.HttpClient</a:t>
                      </a:r>
                      <a:r>
                        <a:rPr lang="en-US" dirty="0">
                          <a:effectLst/>
                          <a:latin typeface="+mn-lt"/>
                        </a:rPr>
                        <a:t> on .NET Framework</a:t>
                      </a:r>
                    </a:p>
                  </a:txBody>
                  <a:tcPr marL="38100" marR="38100" marT="38100" marB="38100"/>
                </a:tc>
                <a:extLst>
                  <a:ext uri="{0D108BD9-81ED-4DB2-BD59-A6C34878D82A}">
                    <a16:rowId xmlns:a16="http://schemas.microsoft.com/office/drawing/2014/main" val="41882041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814130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74F6A9-8B25-1D47-BBB8-7A90DE9652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Supported Technologi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CC63B-C2D1-C640-8FBF-037B7AC9DE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Java</a:t>
            </a:r>
          </a:p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0AB869-1602-CF4F-BB25-03EF0AE90C0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09B177-5E1D-4C4A-A4FA-C8D4AA97CCB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7</a:t>
            </a:fld>
            <a:endParaRPr lang="en-US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6FBD99A6-D1A7-B44C-8CF0-2F717304ED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6911774"/>
              </p:ext>
            </p:extLst>
          </p:nvPr>
        </p:nvGraphicFramePr>
        <p:xfrm>
          <a:off x="2388108" y="2325190"/>
          <a:ext cx="7539736" cy="2277290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3769868">
                  <a:extLst>
                    <a:ext uri="{9D8B030D-6E8A-4147-A177-3AD203B41FA5}">
                      <a16:colId xmlns:a16="http://schemas.microsoft.com/office/drawing/2014/main" val="632952990"/>
                    </a:ext>
                  </a:extLst>
                </a:gridCol>
                <a:gridCol w="3769868">
                  <a:extLst>
                    <a:ext uri="{9D8B030D-6E8A-4147-A177-3AD203B41FA5}">
                      <a16:colId xmlns:a16="http://schemas.microsoft.com/office/drawing/2014/main" val="2587070520"/>
                    </a:ext>
                  </a:extLst>
                </a:gridCol>
              </a:tblGrid>
              <a:tr h="413014">
                <a:tc>
                  <a:txBody>
                    <a:bodyPr/>
                    <a:lstStyle/>
                    <a:p>
                      <a:r>
                        <a:rPr lang="en-US" dirty="0"/>
                        <a:t>Java vers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upported Versio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924240"/>
                  </a:ext>
                </a:extLst>
              </a:tr>
              <a:tr h="747356">
                <a:tc>
                  <a:txBody>
                    <a:bodyPr/>
                    <a:lstStyle/>
                    <a:p>
                      <a:r>
                        <a:rPr lang="en-US" dirty="0"/>
                        <a:t>Oracle JD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7, 8, 9, 10, 1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8397814"/>
                  </a:ext>
                </a:extLst>
              </a:tr>
              <a:tr h="703906">
                <a:tc>
                  <a:txBody>
                    <a:bodyPr/>
                    <a:lstStyle/>
                    <a:p>
                      <a:r>
                        <a:rPr lang="en-US" dirty="0"/>
                        <a:t>Open JD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, 8, 8, 10, 11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8204118"/>
                  </a:ext>
                </a:extLst>
              </a:tr>
              <a:tr h="413014">
                <a:tc>
                  <a:txBody>
                    <a:bodyPr/>
                    <a:lstStyle/>
                    <a:p>
                      <a:r>
                        <a:rPr lang="en-US" dirty="0"/>
                        <a:t>IBM J9 V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92397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980332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2CB49A6-A497-C84C-BFCB-48E942A1A8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Standards for Distributed Tracing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838674-EC05-654B-AC08-E6941C438B1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E436AD-90BB-8748-978C-2FB60EE279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A41C54D-4BCE-0441-A1B1-83D1BC6D45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1082" y="1111387"/>
            <a:ext cx="5224136" cy="5299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7478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2CB49A6-A497-C84C-BFCB-48E942A1A8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lementations of w3c Trace Contex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838674-EC05-654B-AC08-E6941C438B1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E436AD-90BB-8748-978C-2FB60EE279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0C005C7-BD5F-EB40-B293-2FB4CA36881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4260" y="1191734"/>
            <a:ext cx="5097780" cy="52563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46467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822d4cc4-1d5e-4231-9595-f67af2bf41b7"/>
  <p:tag name="MIO_UPDATE" val="True"/>
  <p:tag name="MIO_VERSION" val="13.11.2017 12:23:30"/>
  <p:tag name="MIO_DBID" val="105C9A49-0F00-47E0-A9B9-86E2A99454C8"/>
  <p:tag name="MIO_LASTDOWNLOADED" val="02.05.2018 13:30:33"/>
  <p:tag name="MIO_OBJECTNAME" val="Optum#LowerLeftSmallWide"/>
  <p:tag name="MIO_LASTEDITORNAME" val="Charlotte Bartholomew"/>
  <p:tag name="MIO_LOGOPLACEHOLDER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LOGOPLACEHOLDER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5"/>
  <p:tag name="MIO_SHOW_DATE" val="False"/>
  <p:tag name="MIO_SHOW_FOOTER" val="False"/>
  <p:tag name="MIO_SHOW_PAGENUMBER" val="True"/>
  <p:tag name="MIO_AVOID_BLANK_LAYOUT" val="True"/>
  <p:tag name="MIO_CD_LAYOUT_VALID_AREA" val="False"/>
  <p:tag name="MIO_NUMBER_OF_VALID_LAYOUTS" val="40"/>
  <p:tag name="MIO_HDS" val="True"/>
  <p:tag name="MIO_SKIPVERSION" val="01.01.0001 00:00:00"/>
  <p:tag name="MIO_EKGUID" val="6a645508-c274-414b-b194-88fb038b781a"/>
  <p:tag name="MIO_UPDATE" val="True"/>
  <p:tag name="MIO_VERSION" val="10.06.2019 16:05:23"/>
  <p:tag name="MIO_DBID" val="105C9A49-0F00-47E0-A9B9-86E2A99454C8"/>
  <p:tag name="MIO_LASTDOWNLOADED" val="10.06.2019 16:05:26"/>
  <p:tag name="MIO_OBJECTNAME" val="Optum Wide"/>
  <p:tag name="MIO_LASTEDITORNAME" val="Charlotte Bartholomew"/>
  <p:tag name="MIO_CDID" val="451eeb19-c04f-4baa-b219-473a5b7aed7c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Watermark;Add a watermark (examples: Confidential, Draft, Sample)"/>
  <p:tag name="MIO_USER_INPUT_OPTIONAL" val=" "/>
  <p:tag name="MIO_USER_INPUT_TEXT" val=" 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822d4cc4-1d5e-4231-9595-f67af2bf41b7"/>
  <p:tag name="MIO_UPDATE" val="True"/>
  <p:tag name="MIO_VERSION" val="13.11.2017 12:23:30"/>
  <p:tag name="MIO_DBID" val="105C9A49-0F00-47E0-A9B9-86E2A99454C8"/>
  <p:tag name="MIO_LASTDOWNLOADED" val="02.05.2018 13:30:33"/>
  <p:tag name="MIO_OBJECTNAME" val="Optum#LowerLeftSmallWide"/>
  <p:tag name="MIO_LASTEDITORNAME" val="Charlotte Bartholomew"/>
  <p:tag name="MIO_LOGOPLACEHOLDER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heme/theme1.xml><?xml version="1.0" encoding="utf-8"?>
<a:theme xmlns:a="http://schemas.openxmlformats.org/drawingml/2006/main" name="Default Theme">
  <a:themeElements>
    <a:clrScheme name="Optum - Empower">
      <a:dk1>
        <a:srgbClr val="55565A"/>
      </a:dk1>
      <a:lt1>
        <a:srgbClr val="FFFFFF"/>
      </a:lt1>
      <a:dk2>
        <a:srgbClr val="55565A"/>
      </a:dk2>
      <a:lt2>
        <a:srgbClr val="FFFFFF"/>
      </a:lt2>
      <a:accent1>
        <a:srgbClr val="E87722"/>
      </a:accent1>
      <a:accent2>
        <a:srgbClr val="EAAA00"/>
      </a:accent2>
      <a:accent3>
        <a:srgbClr val="63666A"/>
      </a:accent3>
      <a:accent4>
        <a:srgbClr val="888B8D"/>
      </a:accent4>
      <a:accent5>
        <a:srgbClr val="B1B3B3"/>
      </a:accent5>
      <a:accent6>
        <a:srgbClr val="D0D0CE"/>
      </a:accent6>
      <a:hlink>
        <a:srgbClr val="00549F"/>
      </a:hlink>
      <a:folHlink>
        <a:srgbClr val="00549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Arial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rnd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rtlCol="0">
        <a:spAutoFit/>
      </a:bodyPr>
      <a:lstStyle>
        <a:defPPr algn="l" rtl="0" eaLnBrk="1" fontAlgn="auto" hangingPunct="1">
          <a:lnSpc>
            <a:spcPct val="90000"/>
          </a:lnSpc>
          <a:spcBef>
            <a:spcPts val="0"/>
          </a:spcBef>
          <a:spcAft>
            <a:spcPts val="400"/>
          </a:spcAft>
          <a:defRPr sz="1400" b="0" i="0" u="none" baseline="0" dirty="0" smtClean="0">
            <a:solidFill>
              <a:srgbClr val="55565A"/>
            </a:solidFill>
            <a:latin typeface="Arial"/>
          </a:defRPr>
        </a:defPPr>
      </a:lstStyle>
    </a:txDef>
  </a:objectDefaults>
  <a:extraClrSchemeLst/>
  <a:custClrLst>
    <a:custClr name="Custom Color 1">
      <a:srgbClr val="E87722"/>
    </a:custClr>
    <a:custClr name="Custom Color 2">
      <a:srgbClr val="888B8D"/>
    </a:custClr>
    <a:custClr name="Custom Color 3">
      <a:srgbClr val="739600"/>
    </a:custClr>
    <a:custClr name="Custom Color 4">
      <a:srgbClr val="008770"/>
    </a:custClr>
    <a:custClr name="Custom Color 5">
      <a:srgbClr val="00549F"/>
    </a:custClr>
    <a:custClr name="Custom Color 6">
      <a:srgbClr val="3B0083"/>
    </a:custClr>
    <a:custClr name="Custom Color 7">
      <a:srgbClr val="A22B38"/>
    </a:custClr>
  </a:custClrLst>
  <a:extLst>
    <a:ext uri="{05A4C25C-085E-4340-85A3-A5531E510DB2}">
      <thm15:themeFamily xmlns:thm15="http://schemas.microsoft.com/office/thememl/2012/main" name="Optum Template Widescreen - 2017 - 06.27.17.potx" id="{14CCB6DF-C717-4413-BCDA-15B71AA5CDD8}" vid="{817E4C5E-750D-4B97-8ADE-F637BD8C075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48E6CAA81EF3A44BA4646087124E6A2" ma:contentTypeVersion="50" ma:contentTypeDescription="Create a new document." ma:contentTypeScope="" ma:versionID="0ca5597bff7b8ccccc692ec8f20f6c19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962b37e1f0a60323fad4d4a885905895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4.xml><?xml version="1.0" encoding="utf-8"?>
<?mso-contentType ?>
<spe:Receivers xmlns:spe="http://schemas.microsoft.com/sharepoint/events">
  <Receiver>
    <Name/>
    <Synchronization>Asynchronous</Synchronization>
    <Type>10003</Type>
    <SequenceNumber>10000</SequenceNumber>
    <Url/>
    <Assembly>Optum_EPI_Common, Version=1.0.0.0, Culture=neutral, PublicKeyToken=f1423e9e7790b317</Assembly>
    <Class>Optum_EPI_Common.Event_Receivers.Auditing.AuditingEvents</Class>
    <Data/>
    <Filter/>
  </Receiver>
  <Receiver>
    <Name/>
    <Synchronization>Asynchronous</Synchronization>
    <Type>10002</Type>
    <SequenceNumber>10000</SequenceNumber>
    <Url/>
    <Assembly>Optum_EPI_Common, Version=1.0.0.0, Culture=neutral, PublicKeyToken=f1423e9e7790b317</Assembly>
    <Class>Optum_EPI_Common.Event_Receivers.Auditing.AuditingEvents</Class>
    <Data/>
    <Filter/>
  </Receiver>
</spe:Receivers>
</file>

<file path=customXml/itemProps1.xml><?xml version="1.0" encoding="utf-8"?>
<ds:datastoreItem xmlns:ds="http://schemas.openxmlformats.org/officeDocument/2006/customXml" ds:itemID="{F849B7EA-82AE-456D-9DEC-6F8B95501CB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73701B7-A611-4B1D-A4DE-545CF0628CB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C4A56FE-842A-44EE-AE08-D9989459AD6B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</ds:schemaRefs>
</ds:datastoreItem>
</file>

<file path=customXml/itemProps4.xml><?xml version="1.0" encoding="utf-8"?>
<ds:datastoreItem xmlns:ds="http://schemas.openxmlformats.org/officeDocument/2006/customXml" ds:itemID="{43D8329D-EC4F-4730-BE16-98821B7E1896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231</TotalTime>
  <Words>638</Words>
  <Application>Microsoft Macintosh PowerPoint</Application>
  <PresentationFormat>Widescreen</PresentationFormat>
  <Paragraphs>96</Paragraphs>
  <Slides>12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6" baseType="lpstr">
      <vt:lpstr>Arial</vt:lpstr>
      <vt:lpstr>Calibri</vt:lpstr>
      <vt:lpstr>Segoe UI</vt:lpstr>
      <vt:lpstr>Default Theme</vt:lpstr>
      <vt:lpstr>Elastic APM</vt:lpstr>
      <vt:lpstr>Three Pillars of Observability</vt:lpstr>
      <vt:lpstr>Current Observability Landscape</vt:lpstr>
      <vt:lpstr>Elastic APM</vt:lpstr>
      <vt:lpstr>Supported Languages</vt:lpstr>
      <vt:lpstr>Supported Technologies</vt:lpstr>
      <vt:lpstr>Supported Technologies</vt:lpstr>
      <vt:lpstr>Open Standards for Distributed Tracing</vt:lpstr>
      <vt:lpstr>Implementations of w3c Trace Context</vt:lpstr>
      <vt:lpstr>Three Pillars of Observability</vt:lpstr>
      <vt:lpstr>Observability Built on the Elastic Stack</vt:lpstr>
      <vt:lpstr>Centralized Logging</vt:lpstr>
    </vt:vector>
  </TitlesOfParts>
  <Company>UnitedHealth Group</Company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arlotte Bartholomew</dc:creator>
  <cp:lastModifiedBy>Justin Chao</cp:lastModifiedBy>
  <cp:revision>78</cp:revision>
  <dcterms:created xsi:type="dcterms:W3CDTF">2019-06-11T18:23:50Z</dcterms:created>
  <dcterms:modified xsi:type="dcterms:W3CDTF">2020-03-04T21:26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48E6CAA81EF3A44BA4646087124E6A2</vt:lpwstr>
  </property>
</Properties>
</file>